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5" r:id="rId6"/>
    <p:sldMasterId id="2147483677" r:id="rId7"/>
  </p:sldMasterIdLst>
  <p:notesMasterIdLst>
    <p:notesMasterId r:id="rId31"/>
  </p:notesMasterIdLst>
  <p:sldIdLst>
    <p:sldId id="256" r:id="rId8"/>
    <p:sldId id="270" r:id="rId9"/>
    <p:sldId id="271" r:id="rId10"/>
    <p:sldId id="1480" r:id="rId11"/>
    <p:sldId id="1481" r:id="rId12"/>
    <p:sldId id="2134806021" r:id="rId13"/>
    <p:sldId id="268" r:id="rId14"/>
    <p:sldId id="2134805974" r:id="rId15"/>
    <p:sldId id="269" r:id="rId16"/>
    <p:sldId id="2134805993" r:id="rId17"/>
    <p:sldId id="2134806014" r:id="rId18"/>
    <p:sldId id="2134806019" r:id="rId19"/>
    <p:sldId id="2134805994" r:id="rId20"/>
    <p:sldId id="2134806023" r:id="rId21"/>
    <p:sldId id="2134806018" r:id="rId22"/>
    <p:sldId id="2134806027" r:id="rId23"/>
    <p:sldId id="2134806028" r:id="rId24"/>
    <p:sldId id="2134806022" r:id="rId25"/>
    <p:sldId id="2134806009" r:id="rId26"/>
    <p:sldId id="2134806020" r:id="rId27"/>
    <p:sldId id="1489" r:id="rId28"/>
    <p:sldId id="267" r:id="rId29"/>
    <p:sldId id="2134806029"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D7566B5-A93B-4426-A5FA-C4204FF3D4BA}">
          <p14:sldIdLst>
            <p14:sldId id="256"/>
            <p14:sldId id="270"/>
            <p14:sldId id="271"/>
            <p14:sldId id="1480"/>
          </p14:sldIdLst>
        </p14:section>
        <p14:section name="LTES Introduction" id="{04F7C01A-D37E-4538-9390-BF377D39BC13}">
          <p14:sldIdLst>
            <p14:sldId id="1481"/>
            <p14:sldId id="2134806021"/>
            <p14:sldId id="268"/>
            <p14:sldId id="2134805974"/>
            <p14:sldId id="269"/>
          </p14:sldIdLst>
        </p14:section>
        <p14:section name="Africa Synthesis Report (2023)" id="{35851D9D-DA73-4DCE-9BBA-15340787A0A4}">
          <p14:sldIdLst>
            <p14:sldId id="2134805993"/>
            <p14:sldId id="2134806014"/>
            <p14:sldId id="2134806019"/>
            <p14:sldId id="2134805994"/>
            <p14:sldId id="2134806023"/>
            <p14:sldId id="2134806018"/>
            <p14:sldId id="2134806027"/>
            <p14:sldId id="2134806028"/>
          </p14:sldIdLst>
        </p14:section>
        <p14:section name="CMP Work" id="{7B922807-9CDA-4D03-A1FB-0E3CD5DAF83D}">
          <p14:sldIdLst>
            <p14:sldId id="2134806022"/>
            <p14:sldId id="2134806009"/>
            <p14:sldId id="2134806020"/>
            <p14:sldId id="1489"/>
            <p14:sldId id="267"/>
            <p14:sldId id="213480602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C4FE30F-83E3-8C59-688D-EFFD34E07614}" name="Daniel Russo" initials="DR" userId="S::drusso@irena.org::d140fec5-b866-4893-ad9d-e9cafa9974fc" providerId="AD"/>
  <p188:author id="{FB101E68-975D-66EC-7FD6-8DD1649D2B26}" name="Angela Khanali Mutsotso" initials="AM" userId="S::AMutsotso@irena.org::f2187219-0cf6-4017-8dcd-5e0007a16163" providerId="AD"/>
  <p188:author id="{FE90F675-BFF0-6036-5673-C2C5A9FDCA68}" name="Asami Miketa" initials="AM" userId="S::amiketa@irena.org::cd960c97-f292-40ab-a07e-625fd6b7e7f5" providerId="AD"/>
  <p188:author id="{6355DDAB-95D5-2852-BBA4-0DEE5560AB65}" name="Nolwazi Khumalo" initials="NK" userId="S::nkhumalo@irena.org::0faae79f-1a05-469d-b2ea-69e94adabb16"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6E9636"/>
    <a:srgbClr val="54A3AE"/>
    <a:srgbClr val="0872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4EE4DF-AEAE-4C39-94A9-34E383C28DB2}" v="763" dt="2024-03-15T17:01:46.232"/>
    <p1510:client id="{2243D0A4-F579-FDEA-D92F-5B291270E0CD}" v="6" dt="2024-03-15T17:28:29.703"/>
    <p1510:client id="{4D068B03-6AF6-4345-8FA6-68307114DE3A}" v="13" dt="2024-03-14T22:43:00.844"/>
    <p1510:client id="{5337204F-6A06-4668-9EC2-59FBFA6B0D79}" v="1326" dt="2024-03-15T15:24:56.530"/>
    <p1510:client id="{FA5B9A17-EF24-63F5-DC1B-EAEB1B23C714}" v="144" dt="2024-03-15T15:52:10.57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ilal Hussain" userId="ac280622-5ae8-444b-b160-cdfbb378bbe8" providerId="ADAL" clId="{004EE4DF-AEAE-4C39-94A9-34E383C28DB2}"/>
    <pc:docChg chg="custSel modSld">
      <pc:chgData name="Bilal Hussain" userId="ac280622-5ae8-444b-b160-cdfbb378bbe8" providerId="ADAL" clId="{004EE4DF-AEAE-4C39-94A9-34E383C28DB2}" dt="2024-03-15T17:23:02.793" v="3540" actId="1076"/>
      <pc:docMkLst>
        <pc:docMk/>
      </pc:docMkLst>
      <pc:sldChg chg="addSp delSp modSp mod">
        <pc:chgData name="Bilal Hussain" userId="ac280622-5ae8-444b-b160-cdfbb378bbe8" providerId="ADAL" clId="{004EE4DF-AEAE-4C39-94A9-34E383C28DB2}" dt="2024-03-15T17:23:02.793" v="3540" actId="1076"/>
        <pc:sldMkLst>
          <pc:docMk/>
          <pc:sldMk cId="2092328661" sldId="2134806022"/>
        </pc:sldMkLst>
        <pc:spChg chg="mod">
          <ac:chgData name="Bilal Hussain" userId="ac280622-5ae8-444b-b160-cdfbb378bbe8" providerId="ADAL" clId="{004EE4DF-AEAE-4C39-94A9-34E383C28DB2}" dt="2024-03-15T17:22:51.222" v="3538" actId="14100"/>
          <ac:spMkLst>
            <pc:docMk/>
            <pc:sldMk cId="2092328661" sldId="2134806022"/>
            <ac:spMk id="8" creationId="{46248936-C7E6-48DD-91DA-EAD275F750CE}"/>
          </ac:spMkLst>
        </pc:spChg>
        <pc:grpChg chg="del">
          <ac:chgData name="Bilal Hussain" userId="ac280622-5ae8-444b-b160-cdfbb378bbe8" providerId="ADAL" clId="{004EE4DF-AEAE-4C39-94A9-34E383C28DB2}" dt="2024-03-15T16:29:28.576" v="0" actId="478"/>
          <ac:grpSpMkLst>
            <pc:docMk/>
            <pc:sldMk cId="2092328661" sldId="2134806022"/>
            <ac:grpSpMk id="3" creationId="{838AF73B-A580-814A-C3E1-96A9D40FF72E}"/>
          </ac:grpSpMkLst>
        </pc:grpChg>
        <pc:picChg chg="add mod">
          <ac:chgData name="Bilal Hussain" userId="ac280622-5ae8-444b-b160-cdfbb378bbe8" providerId="ADAL" clId="{004EE4DF-AEAE-4C39-94A9-34E383C28DB2}" dt="2024-03-15T17:23:02.793" v="3540" actId="1076"/>
          <ac:picMkLst>
            <pc:docMk/>
            <pc:sldMk cId="2092328661" sldId="2134806022"/>
            <ac:picMk id="7" creationId="{63C8514F-8F0D-F35E-08A3-5C5A759202FE}"/>
          </ac:picMkLst>
        </pc:picChg>
        <pc:picChg chg="add mod">
          <ac:chgData name="Bilal Hussain" userId="ac280622-5ae8-444b-b160-cdfbb378bbe8" providerId="ADAL" clId="{004EE4DF-AEAE-4C39-94A9-34E383C28DB2}" dt="2024-03-15T17:23:02.793" v="3540" actId="1076"/>
          <ac:picMkLst>
            <pc:docMk/>
            <pc:sldMk cId="2092328661" sldId="2134806022"/>
            <ac:picMk id="10" creationId="{8900015A-04C2-9E8D-10BC-235BBE6A6D61}"/>
          </ac:picMkLst>
        </pc:picChg>
        <pc:picChg chg="del">
          <ac:chgData name="Bilal Hussain" userId="ac280622-5ae8-444b-b160-cdfbb378bbe8" providerId="ADAL" clId="{004EE4DF-AEAE-4C39-94A9-34E383C28DB2}" dt="2024-03-15T16:29:28.576" v="0" actId="478"/>
          <ac:picMkLst>
            <pc:docMk/>
            <pc:sldMk cId="2092328661" sldId="2134806022"/>
            <ac:picMk id="11" creationId="{DE717392-4BCC-A5C4-A1F1-7DBD391A76C1}"/>
          </ac:picMkLst>
        </pc:picChg>
        <pc:picChg chg="add mod">
          <ac:chgData name="Bilal Hussain" userId="ac280622-5ae8-444b-b160-cdfbb378bbe8" providerId="ADAL" clId="{004EE4DF-AEAE-4C39-94A9-34E383C28DB2}" dt="2024-03-15T17:23:02.793" v="3540" actId="1076"/>
          <ac:picMkLst>
            <pc:docMk/>
            <pc:sldMk cId="2092328661" sldId="2134806022"/>
            <ac:picMk id="12" creationId="{9D135700-EC22-F874-7A30-D4FD4C3C9526}"/>
          </ac:picMkLst>
        </pc:picChg>
        <pc:picChg chg="add mod">
          <ac:chgData name="Bilal Hussain" userId="ac280622-5ae8-444b-b160-cdfbb378bbe8" providerId="ADAL" clId="{004EE4DF-AEAE-4C39-94A9-34E383C28DB2}" dt="2024-03-15T17:23:02.793" v="3540" actId="1076"/>
          <ac:picMkLst>
            <pc:docMk/>
            <pc:sldMk cId="2092328661" sldId="2134806022"/>
            <ac:picMk id="13" creationId="{1FA8C262-DF97-1A63-A687-562FB90BD33A}"/>
          </ac:picMkLst>
        </pc:picChg>
      </pc:sldChg>
    </pc:docChg>
  </pc:docChgLst>
  <pc:docChgLst>
    <pc:chgData name="Daniel Russo" userId="d140fec5-b866-4893-ad9d-e9cafa9974fc" providerId="ADAL" clId="{7F6291B7-628F-4149-88ED-4DB7A63BCD33}"/>
    <pc:docChg chg="modSld sldOrd">
      <pc:chgData name="Daniel Russo" userId="d140fec5-b866-4893-ad9d-e9cafa9974fc" providerId="ADAL" clId="{7F6291B7-628F-4149-88ED-4DB7A63BCD33}" dt="2024-03-08T10:52:52.225" v="1"/>
      <pc:docMkLst>
        <pc:docMk/>
      </pc:docMkLst>
      <pc:sldChg chg="ord">
        <pc:chgData name="Daniel Russo" userId="d140fec5-b866-4893-ad9d-e9cafa9974fc" providerId="ADAL" clId="{7F6291B7-628F-4149-88ED-4DB7A63BCD33}" dt="2024-03-08T10:52:52.225" v="1"/>
        <pc:sldMkLst>
          <pc:docMk/>
          <pc:sldMk cId="688345081" sldId="2134806021"/>
        </pc:sldMkLst>
      </pc:sldChg>
    </pc:docChg>
  </pc:docChgLst>
  <pc:docChgLst>
    <pc:chgData name="Asami Miketa" userId="S::amiketa@irena.org::cd960c97-f292-40ab-a07e-625fd6b7e7f5" providerId="AD" clId="Web-{53DA7C96-1677-C1D3-968C-A856FBF4A6CB}"/>
    <pc:docChg chg="mod modSld">
      <pc:chgData name="Asami Miketa" userId="S::amiketa@irena.org::cd960c97-f292-40ab-a07e-625fd6b7e7f5" providerId="AD" clId="Web-{53DA7C96-1677-C1D3-968C-A856FBF4A6CB}" dt="2024-02-28T10:55:26.951" v="6"/>
      <pc:docMkLst>
        <pc:docMk/>
      </pc:docMkLst>
      <pc:sldChg chg="addCm">
        <pc:chgData name="Asami Miketa" userId="S::amiketa@irena.org::cd960c97-f292-40ab-a07e-625fd6b7e7f5" providerId="AD" clId="Web-{53DA7C96-1677-C1D3-968C-A856FBF4A6CB}" dt="2024-02-28T10:48:42.489" v="1"/>
        <pc:sldMkLst>
          <pc:docMk/>
          <pc:sldMk cId="4270065048" sldId="2134806014"/>
        </pc:sldMkLst>
      </pc:sldChg>
      <pc:sldChg chg="addCm">
        <pc:chgData name="Asami Miketa" userId="S::amiketa@irena.org::cd960c97-f292-40ab-a07e-625fd6b7e7f5" providerId="AD" clId="Web-{53DA7C96-1677-C1D3-968C-A856FBF4A6CB}" dt="2024-02-28T10:52:47.494" v="2"/>
        <pc:sldMkLst>
          <pc:docMk/>
          <pc:sldMk cId="953281676" sldId="2134806015"/>
        </pc:sldMkLst>
      </pc:sldChg>
      <pc:sldChg chg="modSp addCm">
        <pc:chgData name="Asami Miketa" userId="S::amiketa@irena.org::cd960c97-f292-40ab-a07e-625fd6b7e7f5" providerId="AD" clId="Web-{53DA7C96-1677-C1D3-968C-A856FBF4A6CB}" dt="2024-02-28T10:53:54.402" v="4" actId="1076"/>
        <pc:sldMkLst>
          <pc:docMk/>
          <pc:sldMk cId="1976558460" sldId="2134806016"/>
        </pc:sldMkLst>
        <pc:spChg chg="mod">
          <ac:chgData name="Asami Miketa" userId="S::amiketa@irena.org::cd960c97-f292-40ab-a07e-625fd6b7e7f5" providerId="AD" clId="Web-{53DA7C96-1677-C1D3-968C-A856FBF4A6CB}" dt="2024-02-28T10:53:54.402" v="4" actId="1076"/>
          <ac:spMkLst>
            <pc:docMk/>
            <pc:sldMk cId="1976558460" sldId="2134806016"/>
            <ac:spMk id="13" creationId="{2677DFBB-7449-60E4-A20D-780E40D04CFD}"/>
          </ac:spMkLst>
        </pc:spChg>
      </pc:sldChg>
      <pc:sldChg chg="addCm">
        <pc:chgData name="Asami Miketa" userId="S::amiketa@irena.org::cd960c97-f292-40ab-a07e-625fd6b7e7f5" providerId="AD" clId="Web-{53DA7C96-1677-C1D3-968C-A856FBF4A6CB}" dt="2024-02-28T10:55:26.951" v="6"/>
        <pc:sldMkLst>
          <pc:docMk/>
          <pc:sldMk cId="2458954775" sldId="2134806018"/>
        </pc:sldMkLst>
      </pc:sldChg>
    </pc:docChg>
  </pc:docChgLst>
  <pc:docChgLst>
    <pc:chgData name="Asami Miketa" userId="S::amiketa@irena.org::cd960c97-f292-40ab-a07e-625fd6b7e7f5" providerId="AD" clId="Web-{4D068B03-6AF6-4345-8FA6-68307114DE3A}"/>
    <pc:docChg chg="">
      <pc:chgData name="Asami Miketa" userId="S::amiketa@irena.org::cd960c97-f292-40ab-a07e-625fd6b7e7f5" providerId="AD" clId="Web-{4D068B03-6AF6-4345-8FA6-68307114DE3A}" dt="2024-03-14T22:43:00.844" v="12"/>
      <pc:docMkLst>
        <pc:docMk/>
      </pc:docMkLst>
      <pc:sldChg chg="addCm">
        <pc:chgData name="Asami Miketa" userId="S::amiketa@irena.org::cd960c97-f292-40ab-a07e-625fd6b7e7f5" providerId="AD" clId="Web-{4D068B03-6AF6-4345-8FA6-68307114DE3A}" dt="2024-03-14T22:28:43.340" v="2"/>
        <pc:sldMkLst>
          <pc:docMk/>
          <pc:sldMk cId="3586861382" sldId="1480"/>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28:43.340" v="2"/>
              <pc2:cmMkLst xmlns:pc2="http://schemas.microsoft.com/office/powerpoint/2019/9/main/command">
                <pc:docMk/>
                <pc:sldMk cId="3586861382" sldId="1480"/>
                <pc2:cmMk id="{903844F7-420F-4083-83A1-86A542745824}"/>
              </pc2:cmMkLst>
            </pc226:cmChg>
          </p:ext>
        </pc:extLst>
      </pc:sldChg>
      <pc:sldChg chg="addCm">
        <pc:chgData name="Asami Miketa" userId="S::amiketa@irena.org::cd960c97-f292-40ab-a07e-625fd6b7e7f5" providerId="AD" clId="Web-{4D068B03-6AF6-4345-8FA6-68307114DE3A}" dt="2024-03-14T22:29:28.732" v="3"/>
        <pc:sldMkLst>
          <pc:docMk/>
          <pc:sldMk cId="227335229" sldId="2134805974"/>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29:28.732" v="3"/>
              <pc2:cmMkLst xmlns:pc2="http://schemas.microsoft.com/office/powerpoint/2019/9/main/command">
                <pc:docMk/>
                <pc:sldMk cId="227335229" sldId="2134805974"/>
                <pc2:cmMk id="{75F7FC0B-41F4-4B15-83B5-1ADE14B2A15E}"/>
              </pc2:cmMkLst>
            </pc226:cmChg>
          </p:ext>
        </pc:extLst>
      </pc:sldChg>
      <pc:sldChg chg="addCm modCm">
        <pc:chgData name="Asami Miketa" userId="S::amiketa@irena.org::cd960c97-f292-40ab-a07e-625fd6b7e7f5" providerId="AD" clId="Web-{4D068B03-6AF6-4345-8FA6-68307114DE3A}" dt="2024-03-14T22:33:37.066" v="8"/>
        <pc:sldMkLst>
          <pc:docMk/>
          <pc:sldMk cId="3596980609" sldId="2134805993"/>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33:37.066" v="8"/>
              <pc2:cmMkLst xmlns:pc2="http://schemas.microsoft.com/office/powerpoint/2019/9/main/command">
                <pc:docMk/>
                <pc:sldMk cId="3596980609" sldId="2134805993"/>
                <pc2:cmMk id="{88AB79EE-EBAA-4AF2-A3C1-9821DA668452}"/>
              </pc2:cmMkLst>
              <pc226:cmRplyChg chg="add">
                <pc226:chgData name="Asami Miketa" userId="S::amiketa@irena.org::cd960c97-f292-40ab-a07e-625fd6b7e7f5" providerId="AD" clId="Web-{4D068B03-6AF6-4345-8FA6-68307114DE3A}" dt="2024-03-14T22:33:37.066" v="8"/>
                <pc2:cmRplyMkLst xmlns:pc2="http://schemas.microsoft.com/office/powerpoint/2019/9/main/command">
                  <pc:docMk/>
                  <pc:sldMk cId="3596980609" sldId="2134805993"/>
                  <pc2:cmMk id="{88AB79EE-EBAA-4AF2-A3C1-9821DA668452}"/>
                  <pc2:cmRplyMk id="{7735167C-D4D8-4F9E-8EAF-0343C7E945A6}"/>
                </pc2:cmRplyMkLst>
              </pc226:cmRplyChg>
            </pc226:cmChg>
          </p:ext>
        </pc:extLst>
      </pc:sldChg>
      <pc:sldChg chg="addCm">
        <pc:chgData name="Asami Miketa" userId="S::amiketa@irena.org::cd960c97-f292-40ab-a07e-625fd6b7e7f5" providerId="AD" clId="Web-{4D068B03-6AF6-4345-8FA6-68307114DE3A}" dt="2024-03-14T22:43:00.844" v="12"/>
        <pc:sldMkLst>
          <pc:docMk/>
          <pc:sldMk cId="800089490" sldId="2134806009"/>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43:00.844" v="12"/>
              <pc2:cmMkLst xmlns:pc2="http://schemas.microsoft.com/office/powerpoint/2019/9/main/command">
                <pc:docMk/>
                <pc:sldMk cId="800089490" sldId="2134806009"/>
                <pc2:cmMk id="{BCB11ADE-3D56-44E5-9D47-D54C1297B704}"/>
              </pc2:cmMkLst>
            </pc226:cmChg>
          </p:ext>
        </pc:extLst>
      </pc:sldChg>
      <pc:sldChg chg="addCm">
        <pc:chgData name="Asami Miketa" userId="S::amiketa@irena.org::cd960c97-f292-40ab-a07e-625fd6b7e7f5" providerId="AD" clId="Web-{4D068B03-6AF6-4345-8FA6-68307114DE3A}" dt="2024-03-14T22:36:37.039" v="11"/>
        <pc:sldMkLst>
          <pc:docMk/>
          <pc:sldMk cId="4270065048" sldId="2134806014"/>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36:37.039" v="11"/>
              <pc2:cmMkLst xmlns:pc2="http://schemas.microsoft.com/office/powerpoint/2019/9/main/command">
                <pc:docMk/>
                <pc:sldMk cId="4270065048" sldId="2134806014"/>
                <pc2:cmMk id="{AB588DA4-CC4E-45A6-9F5E-6AB7E22BCEE8}"/>
              </pc2:cmMkLst>
            </pc226:cmChg>
          </p:ext>
        </pc:extLst>
      </pc:sldChg>
      <pc:sldChg chg="addCm modCm">
        <pc:chgData name="Asami Miketa" userId="S::amiketa@irena.org::cd960c97-f292-40ab-a07e-625fd6b7e7f5" providerId="AD" clId="Web-{4D068B03-6AF6-4345-8FA6-68307114DE3A}" dt="2024-03-14T22:35:37.819" v="10"/>
        <pc:sldMkLst>
          <pc:docMk/>
          <pc:sldMk cId="2458954775" sldId="2134806018"/>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34:42.474" v="9"/>
              <pc2:cmMkLst xmlns:pc2="http://schemas.microsoft.com/office/powerpoint/2019/9/main/command">
                <pc:docMk/>
                <pc:sldMk cId="2458954775" sldId="2134806018"/>
                <pc2:cmMk id="{E5735145-DED4-4363-9FDD-02124E15F7FC}"/>
              </pc2:cmMkLst>
            </pc226:cmChg>
            <pc226:cmChg xmlns:pc226="http://schemas.microsoft.com/office/powerpoint/2022/06/main/command" chg="add">
              <pc226:chgData name="Asami Miketa" userId="S::amiketa@irena.org::cd960c97-f292-40ab-a07e-625fd6b7e7f5" providerId="AD" clId="Web-{4D068B03-6AF6-4345-8FA6-68307114DE3A}" dt="2024-03-14T22:35:37.819" v="10"/>
              <pc2:cmMkLst xmlns:pc2="http://schemas.microsoft.com/office/powerpoint/2019/9/main/command">
                <pc:docMk/>
                <pc:sldMk cId="2458954775" sldId="2134806018"/>
                <pc2:cmMk id="{1A0AEE59-B402-42BB-9CAF-AEAD17A00D72}"/>
              </pc2:cmMkLst>
            </pc226:cmChg>
            <pc226:cmChg xmlns:pc226="http://schemas.microsoft.com/office/powerpoint/2022/06/main/command" chg="mod">
              <pc226:chgData name="Asami Miketa" userId="S::amiketa@irena.org::cd960c97-f292-40ab-a07e-625fd6b7e7f5" providerId="AD" clId="Web-{4D068B03-6AF6-4345-8FA6-68307114DE3A}" dt="2024-03-14T22:32:30.253" v="6"/>
              <pc2:cmMkLst xmlns:pc2="http://schemas.microsoft.com/office/powerpoint/2019/9/main/command">
                <pc:docMk/>
                <pc:sldMk cId="2458954775" sldId="2134806018"/>
                <pc2:cmMk id="{BEA4B29A-5960-4E04-9BBB-461EAC2C458E}"/>
              </pc2:cmMkLst>
            </pc226:cmChg>
            <pc226:cmChg xmlns:pc226="http://schemas.microsoft.com/office/powerpoint/2022/06/main/command" chg="add">
              <pc226:chgData name="Asami Miketa" userId="S::amiketa@irena.org::cd960c97-f292-40ab-a07e-625fd6b7e7f5" providerId="AD" clId="Web-{4D068B03-6AF6-4345-8FA6-68307114DE3A}" dt="2024-03-14T22:33:21.222" v="7"/>
              <pc2:cmMkLst xmlns:pc2="http://schemas.microsoft.com/office/powerpoint/2019/9/main/command">
                <pc:docMk/>
                <pc:sldMk cId="2458954775" sldId="2134806018"/>
                <pc2:cmMk id="{426C3DAA-F2F3-4F00-A214-0DED46CE26C3}"/>
              </pc2:cmMkLst>
            </pc226:cmChg>
            <pc226:cmChg xmlns:pc226="http://schemas.microsoft.com/office/powerpoint/2022/06/main/command" chg="mod">
              <pc226:chgData name="Asami Miketa" userId="S::amiketa@irena.org::cd960c97-f292-40ab-a07e-625fd6b7e7f5" providerId="AD" clId="Web-{4D068B03-6AF6-4345-8FA6-68307114DE3A}" dt="2024-03-14T22:32:24.581" v="5"/>
              <pc2:cmMkLst xmlns:pc2="http://schemas.microsoft.com/office/powerpoint/2019/9/main/command">
                <pc:docMk/>
                <pc:sldMk cId="2458954775" sldId="2134806018"/>
                <pc2:cmMk id="{0564DFBB-67BD-4596-858F-74ABE61F5D0A}"/>
              </pc2:cmMkLst>
            </pc226:cmChg>
          </p:ext>
        </pc:extLst>
      </pc:sldChg>
      <pc:sldChg chg="addCm">
        <pc:chgData name="Asami Miketa" userId="S::amiketa@irena.org::cd960c97-f292-40ab-a07e-625fd6b7e7f5" providerId="AD" clId="Web-{4D068B03-6AF6-4345-8FA6-68307114DE3A}" dt="2024-03-14T22:27:52.495" v="1"/>
        <pc:sldMkLst>
          <pc:docMk/>
          <pc:sldMk cId="688345081" sldId="2134806021"/>
        </pc:sldMkLst>
        <pc:extLst>
          <p:ext xmlns:p="http://schemas.openxmlformats.org/presentationml/2006/main" uri="{D6D511B9-2390-475A-947B-AFAB55BFBCF1}">
            <pc226:cmChg xmlns:pc226="http://schemas.microsoft.com/office/powerpoint/2022/06/main/command" chg="add">
              <pc226:chgData name="Asami Miketa" userId="S::amiketa@irena.org::cd960c97-f292-40ab-a07e-625fd6b7e7f5" providerId="AD" clId="Web-{4D068B03-6AF6-4345-8FA6-68307114DE3A}" dt="2024-03-14T22:27:52.495" v="1"/>
              <pc2:cmMkLst xmlns:pc2="http://schemas.microsoft.com/office/powerpoint/2019/9/main/command">
                <pc:docMk/>
                <pc:sldMk cId="688345081" sldId="2134806021"/>
                <pc2:cmMk id="{F5E11C00-699F-41A5-A0B5-0012B9B69D56}"/>
              </pc2:cmMkLst>
            </pc226:cmChg>
            <pc226:cmChg xmlns:pc226="http://schemas.microsoft.com/office/powerpoint/2022/06/main/command" chg="add">
              <pc226:chgData name="Asami Miketa" userId="S::amiketa@irena.org::cd960c97-f292-40ab-a07e-625fd6b7e7f5" providerId="AD" clId="Web-{4D068B03-6AF6-4345-8FA6-68307114DE3A}" dt="2024-03-14T22:26:46.869" v="0"/>
              <pc2:cmMkLst xmlns:pc2="http://schemas.microsoft.com/office/powerpoint/2019/9/main/command">
                <pc:docMk/>
                <pc:sldMk cId="688345081" sldId="2134806021"/>
                <pc2:cmMk id="{BFCDEC6B-D5F9-4902-B4FD-2637952B5B53}"/>
              </pc2:cmMkLst>
            </pc226:cmChg>
          </p:ext>
        </pc:extLst>
      </pc:sldChg>
    </pc:docChg>
  </pc:docChgLst>
  <pc:docChgLst>
    <pc:chgData name="Angela Khanali Mutsotso" userId="f2187219-0cf6-4017-8dcd-5e0007a16163" providerId="ADAL" clId="{5337204F-6A06-4668-9EC2-59FBFA6B0D79}"/>
    <pc:docChg chg="undo redo custSel addSld delSld modSld sldOrd delMainMaster addSection modSection">
      <pc:chgData name="Angela Khanali Mutsotso" userId="f2187219-0cf6-4017-8dcd-5e0007a16163" providerId="ADAL" clId="{5337204F-6A06-4668-9EC2-59FBFA6B0D79}" dt="2024-03-15T15:38:49.951" v="6498" actId="207"/>
      <pc:docMkLst>
        <pc:docMk/>
      </pc:docMkLst>
      <pc:sldChg chg="addSp delSp modSp add mod modNotesTx">
        <pc:chgData name="Angela Khanali Mutsotso" userId="f2187219-0cf6-4017-8dcd-5e0007a16163" providerId="ADAL" clId="{5337204F-6A06-4668-9EC2-59FBFA6B0D79}" dt="2024-03-15T14:45:22.441" v="4260" actId="2711"/>
        <pc:sldMkLst>
          <pc:docMk/>
          <pc:sldMk cId="3110465505" sldId="268"/>
        </pc:sldMkLst>
        <pc:spChg chg="mod">
          <ac:chgData name="Angela Khanali Mutsotso" userId="f2187219-0cf6-4017-8dcd-5e0007a16163" providerId="ADAL" clId="{5337204F-6A06-4668-9EC2-59FBFA6B0D79}" dt="2024-03-15T14:45:22.441" v="4260" actId="2711"/>
          <ac:spMkLst>
            <pc:docMk/>
            <pc:sldMk cId="3110465505" sldId="268"/>
            <ac:spMk id="3" creationId="{017591A3-365A-1C8E-3EA6-8BF8EA245A75}"/>
          </ac:spMkLst>
        </pc:spChg>
        <pc:spChg chg="mod">
          <ac:chgData name="Angela Khanali Mutsotso" userId="f2187219-0cf6-4017-8dcd-5e0007a16163" providerId="ADAL" clId="{5337204F-6A06-4668-9EC2-59FBFA6B0D79}" dt="2024-03-15T14:45:22.441" v="4260" actId="2711"/>
          <ac:spMkLst>
            <pc:docMk/>
            <pc:sldMk cId="3110465505" sldId="268"/>
            <ac:spMk id="5" creationId="{4796711E-00D1-0BE1-EA6F-53ED1EF324D2}"/>
          </ac:spMkLst>
        </pc:spChg>
        <pc:spChg chg="mod">
          <ac:chgData name="Angela Khanali Mutsotso" userId="f2187219-0cf6-4017-8dcd-5e0007a16163" providerId="ADAL" clId="{5337204F-6A06-4668-9EC2-59FBFA6B0D79}" dt="2024-03-15T14:45:22.441" v="4260" actId="2711"/>
          <ac:spMkLst>
            <pc:docMk/>
            <pc:sldMk cId="3110465505" sldId="268"/>
            <ac:spMk id="8" creationId="{9C35CB8D-67EC-F5BD-9226-C6E3CD721FC9}"/>
          </ac:spMkLst>
        </pc:spChg>
        <pc:picChg chg="add del">
          <ac:chgData name="Angela Khanali Mutsotso" userId="f2187219-0cf6-4017-8dcd-5e0007a16163" providerId="ADAL" clId="{5337204F-6A06-4668-9EC2-59FBFA6B0D79}" dt="2024-03-15T10:25:15.698" v="1928" actId="478"/>
          <ac:picMkLst>
            <pc:docMk/>
            <pc:sldMk cId="3110465505" sldId="268"/>
            <ac:picMk id="2" creationId="{F2692DB6-3915-C3DF-30FE-BCA3789021A7}"/>
          </ac:picMkLst>
        </pc:picChg>
        <pc:picChg chg="add del mod">
          <ac:chgData name="Angela Khanali Mutsotso" userId="f2187219-0cf6-4017-8dcd-5e0007a16163" providerId="ADAL" clId="{5337204F-6A06-4668-9EC2-59FBFA6B0D79}" dt="2024-03-15T10:25:19.865" v="1930" actId="478"/>
          <ac:picMkLst>
            <pc:docMk/>
            <pc:sldMk cId="3110465505" sldId="268"/>
            <ac:picMk id="6" creationId="{1A44B4B2-0CD5-1998-6AD4-3CA27C47745E}"/>
          </ac:picMkLst>
        </pc:picChg>
        <pc:picChg chg="add mod">
          <ac:chgData name="Angela Khanali Mutsotso" userId="f2187219-0cf6-4017-8dcd-5e0007a16163" providerId="ADAL" clId="{5337204F-6A06-4668-9EC2-59FBFA6B0D79}" dt="2024-03-15T10:25:33.353" v="1932" actId="1076"/>
          <ac:picMkLst>
            <pc:docMk/>
            <pc:sldMk cId="3110465505" sldId="268"/>
            <ac:picMk id="7" creationId="{D6837C7E-915D-71A4-BA41-D6DCDC4AC554}"/>
          </ac:picMkLst>
        </pc:picChg>
      </pc:sldChg>
      <pc:sldChg chg="addSp modSp mod">
        <pc:chgData name="Angela Khanali Mutsotso" userId="f2187219-0cf6-4017-8dcd-5e0007a16163" providerId="ADAL" clId="{5337204F-6A06-4668-9EC2-59FBFA6B0D79}" dt="2024-03-15T14:45:43.333" v="4262" actId="2711"/>
        <pc:sldMkLst>
          <pc:docMk/>
          <pc:sldMk cId="4134108308" sldId="269"/>
        </pc:sldMkLst>
        <pc:spChg chg="mod">
          <ac:chgData name="Angela Khanali Mutsotso" userId="f2187219-0cf6-4017-8dcd-5e0007a16163" providerId="ADAL" clId="{5337204F-6A06-4668-9EC2-59FBFA6B0D79}" dt="2024-03-15T14:45:43.333" v="4262" actId="2711"/>
          <ac:spMkLst>
            <pc:docMk/>
            <pc:sldMk cId="4134108308" sldId="269"/>
            <ac:spMk id="2" creationId="{B5BD5CF0-6984-C94A-6EDB-009913D63313}"/>
          </ac:spMkLst>
        </pc:spChg>
        <pc:spChg chg="mod">
          <ac:chgData name="Angela Khanali Mutsotso" userId="f2187219-0cf6-4017-8dcd-5e0007a16163" providerId="ADAL" clId="{5337204F-6A06-4668-9EC2-59FBFA6B0D79}" dt="2024-03-15T14:45:43.333" v="4262" actId="2711"/>
          <ac:spMkLst>
            <pc:docMk/>
            <pc:sldMk cId="4134108308" sldId="269"/>
            <ac:spMk id="3" creationId="{8D598AB4-97E5-D40A-A5CD-D86AFF3DB607}"/>
          </ac:spMkLst>
        </pc:spChg>
        <pc:spChg chg="mod">
          <ac:chgData name="Angela Khanali Mutsotso" userId="f2187219-0cf6-4017-8dcd-5e0007a16163" providerId="ADAL" clId="{5337204F-6A06-4668-9EC2-59FBFA6B0D79}" dt="2024-03-15T14:45:43.333" v="4262" actId="2711"/>
          <ac:spMkLst>
            <pc:docMk/>
            <pc:sldMk cId="4134108308" sldId="269"/>
            <ac:spMk id="15" creationId="{2C3A6E75-A8F8-845E-F278-500A8061073E}"/>
          </ac:spMkLst>
        </pc:spChg>
        <pc:picChg chg="add mod">
          <ac:chgData name="Angela Khanali Mutsotso" userId="f2187219-0cf6-4017-8dcd-5e0007a16163" providerId="ADAL" clId="{5337204F-6A06-4668-9EC2-59FBFA6B0D79}" dt="2024-03-01T16:57:10.448" v="1273" actId="1076"/>
          <ac:picMkLst>
            <pc:docMk/>
            <pc:sldMk cId="4134108308" sldId="269"/>
            <ac:picMk id="4" creationId="{D4B345BE-048E-17E9-F762-7016F20CC087}"/>
          </ac:picMkLst>
        </pc:picChg>
        <pc:picChg chg="add mod">
          <ac:chgData name="Angela Khanali Mutsotso" userId="f2187219-0cf6-4017-8dcd-5e0007a16163" providerId="ADAL" clId="{5337204F-6A06-4668-9EC2-59FBFA6B0D79}" dt="2024-03-01T16:57:07.819" v="1272" actId="1076"/>
          <ac:picMkLst>
            <pc:docMk/>
            <pc:sldMk cId="4134108308" sldId="269"/>
            <ac:picMk id="5" creationId="{27245072-9E1F-4270-9A3E-9EDF24E72249}"/>
          </ac:picMkLst>
        </pc:picChg>
      </pc:sldChg>
      <pc:sldChg chg="add del">
        <pc:chgData name="Angela Khanali Mutsotso" userId="f2187219-0cf6-4017-8dcd-5e0007a16163" providerId="ADAL" clId="{5337204F-6A06-4668-9EC2-59FBFA6B0D79}" dt="2024-03-15T15:13:17.354" v="5129" actId="47"/>
        <pc:sldMkLst>
          <pc:docMk/>
          <pc:sldMk cId="684630886" sldId="1009"/>
        </pc:sldMkLst>
      </pc:sldChg>
      <pc:sldChg chg="modSp mod modCm">
        <pc:chgData name="Angela Khanali Mutsotso" userId="f2187219-0cf6-4017-8dcd-5e0007a16163" providerId="ADAL" clId="{5337204F-6A06-4668-9EC2-59FBFA6B0D79}" dt="2024-03-15T14:44:37.717" v="4257" actId="2711"/>
        <pc:sldMkLst>
          <pc:docMk/>
          <pc:sldMk cId="3586861382" sldId="1480"/>
        </pc:sldMkLst>
        <pc:spChg chg="mod">
          <ac:chgData name="Angela Khanali Mutsotso" userId="f2187219-0cf6-4017-8dcd-5e0007a16163" providerId="ADAL" clId="{5337204F-6A06-4668-9EC2-59FBFA6B0D79}" dt="2024-03-15T14:44:37.717" v="4257" actId="2711"/>
          <ac:spMkLst>
            <pc:docMk/>
            <pc:sldMk cId="3586861382" sldId="1480"/>
            <ac:spMk id="2" creationId="{7D1883FB-1093-153B-8252-37B36572266A}"/>
          </ac:spMkLst>
        </pc:spChg>
        <pc:spChg chg="mod">
          <ac:chgData name="Angela Khanali Mutsotso" userId="f2187219-0cf6-4017-8dcd-5e0007a16163" providerId="ADAL" clId="{5337204F-6A06-4668-9EC2-59FBFA6B0D79}" dt="2024-03-15T14:44:37.717" v="4257" actId="2711"/>
          <ac:spMkLst>
            <pc:docMk/>
            <pc:sldMk cId="3586861382" sldId="1480"/>
            <ac:spMk id="3" creationId="{7F4D0551-63BD-A848-910E-C64AFECC92F1}"/>
          </ac:spMkLst>
        </pc:spChg>
        <pc:picChg chg="mod">
          <ac:chgData name="Angela Khanali Mutsotso" userId="f2187219-0cf6-4017-8dcd-5e0007a16163" providerId="ADAL" clId="{5337204F-6A06-4668-9EC2-59FBFA6B0D79}" dt="2024-03-15T12:19:33.647" v="3680" actId="1076"/>
          <ac:picMkLst>
            <pc:docMk/>
            <pc:sldMk cId="3586861382" sldId="1480"/>
            <ac:picMk id="4" creationId="{A550B456-87A0-E14D-8734-01A378A70ED6}"/>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26:23.546" v="3853"/>
              <pc2:cmMkLst xmlns:pc2="http://schemas.microsoft.com/office/powerpoint/2019/9/main/command">
                <pc:docMk/>
                <pc:sldMk cId="3586861382" sldId="1480"/>
                <pc2:cmMk id="{903844F7-420F-4083-83A1-86A542745824}"/>
              </pc2:cmMkLst>
            </pc226:cmChg>
          </p:ext>
        </pc:extLst>
      </pc:sldChg>
      <pc:sldChg chg="addSp delSp modSp add del mod">
        <pc:chgData name="Angela Khanali Mutsotso" userId="f2187219-0cf6-4017-8dcd-5e0007a16163" providerId="ADAL" clId="{5337204F-6A06-4668-9EC2-59FBFA6B0D79}" dt="2024-03-15T14:44:55.481" v="4258" actId="2711"/>
        <pc:sldMkLst>
          <pc:docMk/>
          <pc:sldMk cId="559686259" sldId="1481"/>
        </pc:sldMkLst>
        <pc:spChg chg="mod">
          <ac:chgData name="Angela Khanali Mutsotso" userId="f2187219-0cf6-4017-8dcd-5e0007a16163" providerId="ADAL" clId="{5337204F-6A06-4668-9EC2-59FBFA6B0D79}" dt="2024-03-15T14:44:55.481" v="4258" actId="2711"/>
          <ac:spMkLst>
            <pc:docMk/>
            <pc:sldMk cId="559686259" sldId="1481"/>
            <ac:spMk id="5" creationId="{EC1EC11E-3EB8-323A-5F58-4234924E9197}"/>
          </ac:spMkLst>
        </pc:spChg>
        <pc:spChg chg="mod">
          <ac:chgData name="Angela Khanali Mutsotso" userId="f2187219-0cf6-4017-8dcd-5e0007a16163" providerId="ADAL" clId="{5337204F-6A06-4668-9EC2-59FBFA6B0D79}" dt="2024-03-15T14:44:55.481" v="4258" actId="2711"/>
          <ac:spMkLst>
            <pc:docMk/>
            <pc:sldMk cId="559686259" sldId="1481"/>
            <ac:spMk id="12" creationId="{E4F77B20-5B88-19BA-4DC7-EF9D0B63A4C4}"/>
          </ac:spMkLst>
        </pc:spChg>
        <pc:spChg chg="mod">
          <ac:chgData name="Angela Khanali Mutsotso" userId="f2187219-0cf6-4017-8dcd-5e0007a16163" providerId="ADAL" clId="{5337204F-6A06-4668-9EC2-59FBFA6B0D79}" dt="2024-03-15T14:44:55.481" v="4258" actId="2711"/>
          <ac:spMkLst>
            <pc:docMk/>
            <pc:sldMk cId="559686259" sldId="1481"/>
            <ac:spMk id="13" creationId="{5EC1D445-398F-36CE-1DA8-051D263A210B}"/>
          </ac:spMkLst>
        </pc:spChg>
        <pc:spChg chg="mod">
          <ac:chgData name="Angela Khanali Mutsotso" userId="f2187219-0cf6-4017-8dcd-5e0007a16163" providerId="ADAL" clId="{5337204F-6A06-4668-9EC2-59FBFA6B0D79}" dt="2024-03-15T14:44:55.481" v="4258" actId="2711"/>
          <ac:spMkLst>
            <pc:docMk/>
            <pc:sldMk cId="559686259" sldId="1481"/>
            <ac:spMk id="20" creationId="{F5AA4ED2-5073-0E9A-4906-50157AA692B4}"/>
          </ac:spMkLst>
        </pc:spChg>
        <pc:spChg chg="mod">
          <ac:chgData name="Angela Khanali Mutsotso" userId="f2187219-0cf6-4017-8dcd-5e0007a16163" providerId="ADAL" clId="{5337204F-6A06-4668-9EC2-59FBFA6B0D79}" dt="2024-03-15T14:44:55.481" v="4258" actId="2711"/>
          <ac:spMkLst>
            <pc:docMk/>
            <pc:sldMk cId="559686259" sldId="1481"/>
            <ac:spMk id="22" creationId="{AB5EFDEC-1E4B-DDC7-4C15-91F27482F2D1}"/>
          </ac:spMkLst>
        </pc:spChg>
        <pc:spChg chg="mod">
          <ac:chgData name="Angela Khanali Mutsotso" userId="f2187219-0cf6-4017-8dcd-5e0007a16163" providerId="ADAL" clId="{5337204F-6A06-4668-9EC2-59FBFA6B0D79}" dt="2024-03-15T14:44:55.481" v="4258" actId="2711"/>
          <ac:spMkLst>
            <pc:docMk/>
            <pc:sldMk cId="559686259" sldId="1481"/>
            <ac:spMk id="23" creationId="{BCF9D76C-6DE7-B9CA-F333-739EC9B1CE72}"/>
          </ac:spMkLst>
        </pc:spChg>
        <pc:spChg chg="mod">
          <ac:chgData name="Angela Khanali Mutsotso" userId="f2187219-0cf6-4017-8dcd-5e0007a16163" providerId="ADAL" clId="{5337204F-6A06-4668-9EC2-59FBFA6B0D79}" dt="2024-03-15T14:44:55.481" v="4258" actId="2711"/>
          <ac:spMkLst>
            <pc:docMk/>
            <pc:sldMk cId="559686259" sldId="1481"/>
            <ac:spMk id="24" creationId="{CD0CB928-AC7E-FA81-BF2E-6BCB3A7132C1}"/>
          </ac:spMkLst>
        </pc:spChg>
        <pc:spChg chg="mod">
          <ac:chgData name="Angela Khanali Mutsotso" userId="f2187219-0cf6-4017-8dcd-5e0007a16163" providerId="ADAL" clId="{5337204F-6A06-4668-9EC2-59FBFA6B0D79}" dt="2024-03-15T14:44:55.481" v="4258" actId="2711"/>
          <ac:spMkLst>
            <pc:docMk/>
            <pc:sldMk cId="559686259" sldId="1481"/>
            <ac:spMk id="30" creationId="{959CD3D0-CC76-35DB-3422-4759B5FDE847}"/>
          </ac:spMkLst>
        </pc:spChg>
        <pc:spChg chg="mod">
          <ac:chgData name="Angela Khanali Mutsotso" userId="f2187219-0cf6-4017-8dcd-5e0007a16163" providerId="ADAL" clId="{5337204F-6A06-4668-9EC2-59FBFA6B0D79}" dt="2024-03-15T14:44:55.481" v="4258" actId="2711"/>
          <ac:spMkLst>
            <pc:docMk/>
            <pc:sldMk cId="559686259" sldId="1481"/>
            <ac:spMk id="43" creationId="{33B5F2F0-558E-2C60-08D9-70D4A1FE16AF}"/>
          </ac:spMkLst>
        </pc:spChg>
        <pc:spChg chg="mod">
          <ac:chgData name="Angela Khanali Mutsotso" userId="f2187219-0cf6-4017-8dcd-5e0007a16163" providerId="ADAL" clId="{5337204F-6A06-4668-9EC2-59FBFA6B0D79}" dt="2024-03-15T14:44:55.481" v="4258" actId="2711"/>
          <ac:spMkLst>
            <pc:docMk/>
            <pc:sldMk cId="559686259" sldId="1481"/>
            <ac:spMk id="44" creationId="{BC8073A2-8AD7-D2AD-1ECA-CD8F9875A3E5}"/>
          </ac:spMkLst>
        </pc:spChg>
        <pc:picChg chg="add del mod">
          <ac:chgData name="Angela Khanali Mutsotso" userId="f2187219-0cf6-4017-8dcd-5e0007a16163" providerId="ADAL" clId="{5337204F-6A06-4668-9EC2-59FBFA6B0D79}" dt="2024-03-01T10:38:53.260" v="291" actId="478"/>
          <ac:picMkLst>
            <pc:docMk/>
            <pc:sldMk cId="559686259" sldId="1481"/>
            <ac:picMk id="2" creationId="{698079E9-3DD7-15D9-5C58-20CC8A8B04F1}"/>
          </ac:picMkLst>
        </pc:picChg>
      </pc:sldChg>
      <pc:sldChg chg="modSp add del mod">
        <pc:chgData name="Angela Khanali Mutsotso" userId="f2187219-0cf6-4017-8dcd-5e0007a16163" providerId="ADAL" clId="{5337204F-6A06-4668-9EC2-59FBFA6B0D79}" dt="2024-03-15T10:22:03.359" v="1919" actId="47"/>
        <pc:sldMkLst>
          <pc:docMk/>
          <pc:sldMk cId="140775514" sldId="1486"/>
        </pc:sldMkLst>
        <pc:spChg chg="mod">
          <ac:chgData name="Angela Khanali Mutsotso" userId="f2187219-0cf6-4017-8dcd-5e0007a16163" providerId="ADAL" clId="{5337204F-6A06-4668-9EC2-59FBFA6B0D79}" dt="2024-03-15T10:21:46.671" v="1916" actId="207"/>
          <ac:spMkLst>
            <pc:docMk/>
            <pc:sldMk cId="140775514" sldId="1486"/>
            <ac:spMk id="9" creationId="{00000000-0000-0000-0000-000000000000}"/>
          </ac:spMkLst>
        </pc:spChg>
      </pc:sldChg>
      <pc:sldChg chg="add del">
        <pc:chgData name="Angela Khanali Mutsotso" userId="f2187219-0cf6-4017-8dcd-5e0007a16163" providerId="ADAL" clId="{5337204F-6A06-4668-9EC2-59FBFA6B0D79}" dt="2024-03-15T10:22:15.294" v="1921" actId="47"/>
        <pc:sldMkLst>
          <pc:docMk/>
          <pc:sldMk cId="2483789603" sldId="1488"/>
        </pc:sldMkLst>
      </pc:sldChg>
      <pc:sldChg chg="modSp mod">
        <pc:chgData name="Angela Khanali Mutsotso" userId="f2187219-0cf6-4017-8dcd-5e0007a16163" providerId="ADAL" clId="{5337204F-6A06-4668-9EC2-59FBFA6B0D79}" dt="2024-03-15T14:48:58.447" v="4274" actId="2711"/>
        <pc:sldMkLst>
          <pc:docMk/>
          <pc:sldMk cId="1960375563" sldId="1489"/>
        </pc:sldMkLst>
        <pc:spChg chg="mod">
          <ac:chgData name="Angela Khanali Mutsotso" userId="f2187219-0cf6-4017-8dcd-5e0007a16163" providerId="ADAL" clId="{5337204F-6A06-4668-9EC2-59FBFA6B0D79}" dt="2024-03-15T14:48:58.447" v="4274" actId="2711"/>
          <ac:spMkLst>
            <pc:docMk/>
            <pc:sldMk cId="1960375563" sldId="1489"/>
            <ac:spMk id="3" creationId="{7F4D0551-63BD-A848-910E-C64AFECC92F1}"/>
          </ac:spMkLst>
        </pc:spChg>
      </pc:sldChg>
      <pc:sldChg chg="modSp add del mod">
        <pc:chgData name="Angela Khanali Mutsotso" userId="f2187219-0cf6-4017-8dcd-5e0007a16163" providerId="ADAL" clId="{5337204F-6A06-4668-9EC2-59FBFA6B0D79}" dt="2024-03-06T11:09:54.969" v="1826" actId="47"/>
        <pc:sldMkLst>
          <pc:docMk/>
          <pc:sldMk cId="4136525484" sldId="6043"/>
        </pc:sldMkLst>
        <pc:spChg chg="mod">
          <ac:chgData name="Angela Khanali Mutsotso" userId="f2187219-0cf6-4017-8dcd-5e0007a16163" providerId="ADAL" clId="{5337204F-6A06-4668-9EC2-59FBFA6B0D79}" dt="2024-03-06T11:06:49.819" v="1719" actId="2711"/>
          <ac:spMkLst>
            <pc:docMk/>
            <pc:sldMk cId="4136525484" sldId="6043"/>
            <ac:spMk id="9" creationId="{1F5994EA-F577-48BA-A173-22434651D30A}"/>
          </ac:spMkLst>
        </pc:spChg>
      </pc:sldChg>
      <pc:sldChg chg="add del ord">
        <pc:chgData name="Angela Khanali Mutsotso" userId="f2187219-0cf6-4017-8dcd-5e0007a16163" providerId="ADAL" clId="{5337204F-6A06-4668-9EC2-59FBFA6B0D79}" dt="2024-03-01T17:00:14.999" v="1351" actId="47"/>
        <pc:sldMkLst>
          <pc:docMk/>
          <pc:sldMk cId="53607440" sldId="6045"/>
        </pc:sldMkLst>
      </pc:sldChg>
      <pc:sldChg chg="modSp mod modCm">
        <pc:chgData name="Angela Khanali Mutsotso" userId="f2187219-0cf6-4017-8dcd-5e0007a16163" providerId="ADAL" clId="{5337204F-6A06-4668-9EC2-59FBFA6B0D79}" dt="2024-03-15T14:45:31.813" v="4261" actId="2711"/>
        <pc:sldMkLst>
          <pc:docMk/>
          <pc:sldMk cId="227335229" sldId="2134805974"/>
        </pc:sldMkLst>
        <pc:spChg chg="mod">
          <ac:chgData name="Angela Khanali Mutsotso" userId="f2187219-0cf6-4017-8dcd-5e0007a16163" providerId="ADAL" clId="{5337204F-6A06-4668-9EC2-59FBFA6B0D79}" dt="2024-03-15T14:45:31.813" v="4261" actId="2711"/>
          <ac:spMkLst>
            <pc:docMk/>
            <pc:sldMk cId="227335229" sldId="2134805974"/>
            <ac:spMk id="7" creationId="{5E4390DC-8E3C-E40B-BBB7-1F02D0E7C136}"/>
          </ac:spMkLst>
        </pc:spChg>
        <pc:spChg chg="mod">
          <ac:chgData name="Angela Khanali Mutsotso" userId="f2187219-0cf6-4017-8dcd-5e0007a16163" providerId="ADAL" clId="{5337204F-6A06-4668-9EC2-59FBFA6B0D79}" dt="2024-03-15T11:48:07.024" v="3197" actId="2711"/>
          <ac:spMkLst>
            <pc:docMk/>
            <pc:sldMk cId="227335229" sldId="2134805974"/>
            <ac:spMk id="8" creationId="{FE18FBD5-B069-633A-7FA2-62000E960A06}"/>
          </ac:spMkLst>
        </pc:spChg>
        <pc:spChg chg="mod">
          <ac:chgData name="Angela Khanali Mutsotso" userId="f2187219-0cf6-4017-8dcd-5e0007a16163" providerId="ADAL" clId="{5337204F-6A06-4668-9EC2-59FBFA6B0D79}" dt="2024-03-15T14:45:31.813" v="4261" actId="2711"/>
          <ac:spMkLst>
            <pc:docMk/>
            <pc:sldMk cId="227335229" sldId="2134805974"/>
            <ac:spMk id="25" creationId="{984AAA4A-7F8F-902F-B518-F613E1BE63C9}"/>
          </ac:spMkLst>
        </pc:spChg>
        <pc:spChg chg="mod">
          <ac:chgData name="Angela Khanali Mutsotso" userId="f2187219-0cf6-4017-8dcd-5e0007a16163" providerId="ADAL" clId="{5337204F-6A06-4668-9EC2-59FBFA6B0D79}" dt="2024-03-15T11:48:07.024" v="3197" actId="2711"/>
          <ac:spMkLst>
            <pc:docMk/>
            <pc:sldMk cId="227335229" sldId="2134805974"/>
            <ac:spMk id="50" creationId="{97502CC9-5A54-4C47-BD34-CFF07810E4E4}"/>
          </ac:spMkLst>
        </pc:sp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5:18.807" v="3605"/>
              <pc2:cmMkLst xmlns:pc2="http://schemas.microsoft.com/office/powerpoint/2019/9/main/command">
                <pc:docMk/>
                <pc:sldMk cId="227335229" sldId="2134805974"/>
                <pc2:cmMk id="{75F7FC0B-41F4-4B15-83B5-1ADE14B2A15E}"/>
              </pc2:cmMkLst>
            </pc226:cmChg>
          </p:ext>
        </pc:extLst>
      </pc:sldChg>
      <pc:sldChg chg="addSp delSp modSp mod modNotesTx">
        <pc:chgData name="Angela Khanali Mutsotso" userId="f2187219-0cf6-4017-8dcd-5e0007a16163" providerId="ADAL" clId="{5337204F-6A06-4668-9EC2-59FBFA6B0D79}" dt="2024-03-15T14:46:16.165" v="4263" actId="2711"/>
        <pc:sldMkLst>
          <pc:docMk/>
          <pc:sldMk cId="3596980609" sldId="2134805993"/>
        </pc:sldMkLst>
        <pc:spChg chg="mod">
          <ac:chgData name="Angela Khanali Mutsotso" userId="f2187219-0cf6-4017-8dcd-5e0007a16163" providerId="ADAL" clId="{5337204F-6A06-4668-9EC2-59FBFA6B0D79}" dt="2024-03-15T14:46:16.165" v="4263" actId="2711"/>
          <ac:spMkLst>
            <pc:docMk/>
            <pc:sldMk cId="3596980609" sldId="2134805993"/>
            <ac:spMk id="4" creationId="{E614ECFF-D44B-451B-FF0C-432D15F2788F}"/>
          </ac:spMkLst>
        </pc:spChg>
        <pc:spChg chg="mod">
          <ac:chgData name="Angela Khanali Mutsotso" userId="f2187219-0cf6-4017-8dcd-5e0007a16163" providerId="ADAL" clId="{5337204F-6A06-4668-9EC2-59FBFA6B0D79}" dt="2024-03-15T14:46:16.165" v="4263" actId="2711"/>
          <ac:spMkLst>
            <pc:docMk/>
            <pc:sldMk cId="3596980609" sldId="2134805993"/>
            <ac:spMk id="10" creationId="{A1E3547E-2B94-D1E4-73E1-60CA31202873}"/>
          </ac:spMkLst>
        </pc:spChg>
        <pc:spChg chg="add mod">
          <ac:chgData name="Angela Khanali Mutsotso" userId="f2187219-0cf6-4017-8dcd-5e0007a16163" providerId="ADAL" clId="{5337204F-6A06-4668-9EC2-59FBFA6B0D79}" dt="2024-03-15T14:46:16.165" v="4263" actId="2711"/>
          <ac:spMkLst>
            <pc:docMk/>
            <pc:sldMk cId="3596980609" sldId="2134805993"/>
            <ac:spMk id="11" creationId="{49FB1C74-715B-C29A-F848-5A04048B58AE}"/>
          </ac:spMkLst>
        </pc:spChg>
        <pc:spChg chg="add mod">
          <ac:chgData name="Angela Khanali Mutsotso" userId="f2187219-0cf6-4017-8dcd-5e0007a16163" providerId="ADAL" clId="{5337204F-6A06-4668-9EC2-59FBFA6B0D79}" dt="2024-03-15T14:46:16.165" v="4263" actId="2711"/>
          <ac:spMkLst>
            <pc:docMk/>
            <pc:sldMk cId="3596980609" sldId="2134805993"/>
            <ac:spMk id="13" creationId="{69BE1A85-E4C4-94B1-2559-34204D547442}"/>
          </ac:spMkLst>
        </pc:spChg>
        <pc:spChg chg="add mod">
          <ac:chgData name="Angela Khanali Mutsotso" userId="f2187219-0cf6-4017-8dcd-5e0007a16163" providerId="ADAL" clId="{5337204F-6A06-4668-9EC2-59FBFA6B0D79}" dt="2024-03-15T14:46:16.165" v="4263" actId="2711"/>
          <ac:spMkLst>
            <pc:docMk/>
            <pc:sldMk cId="3596980609" sldId="2134805993"/>
            <ac:spMk id="15" creationId="{4DC1657A-A459-25C8-01A3-6A9BA36CA0AC}"/>
          </ac:spMkLst>
        </pc:spChg>
        <pc:spChg chg="add mod">
          <ac:chgData name="Angela Khanali Mutsotso" userId="f2187219-0cf6-4017-8dcd-5e0007a16163" providerId="ADAL" clId="{5337204F-6A06-4668-9EC2-59FBFA6B0D79}" dt="2024-03-15T14:46:16.165" v="4263" actId="2711"/>
          <ac:spMkLst>
            <pc:docMk/>
            <pc:sldMk cId="3596980609" sldId="2134805993"/>
            <ac:spMk id="16" creationId="{D1A28E69-6712-ED54-B242-24C46284E735}"/>
          </ac:spMkLst>
        </pc:spChg>
        <pc:spChg chg="add mod">
          <ac:chgData name="Angela Khanali Mutsotso" userId="f2187219-0cf6-4017-8dcd-5e0007a16163" providerId="ADAL" clId="{5337204F-6A06-4668-9EC2-59FBFA6B0D79}" dt="2024-03-15T14:46:16.165" v="4263" actId="2711"/>
          <ac:spMkLst>
            <pc:docMk/>
            <pc:sldMk cId="3596980609" sldId="2134805993"/>
            <ac:spMk id="17" creationId="{7C07C55D-E976-CC65-822C-9AC49EFCD8AF}"/>
          </ac:spMkLst>
        </pc:spChg>
        <pc:spChg chg="add mod">
          <ac:chgData name="Angela Khanali Mutsotso" userId="f2187219-0cf6-4017-8dcd-5e0007a16163" providerId="ADAL" clId="{5337204F-6A06-4668-9EC2-59FBFA6B0D79}" dt="2024-03-15T14:46:16.165" v="4263" actId="2711"/>
          <ac:spMkLst>
            <pc:docMk/>
            <pc:sldMk cId="3596980609" sldId="2134805993"/>
            <ac:spMk id="19" creationId="{B27F8AF9-00D0-584D-BC26-473B77DB02E3}"/>
          </ac:spMkLst>
        </pc:spChg>
        <pc:spChg chg="add mod">
          <ac:chgData name="Angela Khanali Mutsotso" userId="f2187219-0cf6-4017-8dcd-5e0007a16163" providerId="ADAL" clId="{5337204F-6A06-4668-9EC2-59FBFA6B0D79}" dt="2024-03-15T12:08:34.647" v="3358" actId="1076"/>
          <ac:spMkLst>
            <pc:docMk/>
            <pc:sldMk cId="3596980609" sldId="2134805993"/>
            <ac:spMk id="21" creationId="{C27B799C-27AB-5A1C-612D-E8B2DC430701}"/>
          </ac:spMkLst>
        </pc:spChg>
        <pc:picChg chg="add mod">
          <ac:chgData name="Angela Khanali Mutsotso" userId="f2187219-0cf6-4017-8dcd-5e0007a16163" providerId="ADAL" clId="{5337204F-6A06-4668-9EC2-59FBFA6B0D79}" dt="2024-03-01T16:57:22.534" v="1274"/>
          <ac:picMkLst>
            <pc:docMk/>
            <pc:sldMk cId="3596980609" sldId="2134805993"/>
            <ac:picMk id="2" creationId="{D98B4DE2-9B3B-B281-1D07-BDA520652EDB}"/>
          </ac:picMkLst>
        </pc:picChg>
        <pc:picChg chg="add del mod">
          <ac:chgData name="Angela Khanali Mutsotso" userId="f2187219-0cf6-4017-8dcd-5e0007a16163" providerId="ADAL" clId="{5337204F-6A06-4668-9EC2-59FBFA6B0D79}" dt="2024-03-15T12:06:32.864" v="3341" actId="478"/>
          <ac:picMkLst>
            <pc:docMk/>
            <pc:sldMk cId="3596980609" sldId="2134805993"/>
            <ac:picMk id="3" creationId="{89999943-20E5-9FB5-2D93-4324138D6615}"/>
          </ac:picMkLst>
        </pc:picChg>
        <pc:picChg chg="add mod">
          <ac:chgData name="Angela Khanali Mutsotso" userId="f2187219-0cf6-4017-8dcd-5e0007a16163" providerId="ADAL" clId="{5337204F-6A06-4668-9EC2-59FBFA6B0D79}" dt="2024-03-15T12:08:11.465" v="3352" actId="1076"/>
          <ac:picMkLst>
            <pc:docMk/>
            <pc:sldMk cId="3596980609" sldId="2134805993"/>
            <ac:picMk id="5" creationId="{CE3EC72D-0117-366A-408D-8607B8E9F531}"/>
          </ac:picMkLst>
        </pc:picChg>
        <pc:picChg chg="add mod">
          <ac:chgData name="Angela Khanali Mutsotso" userId="f2187219-0cf6-4017-8dcd-5e0007a16163" providerId="ADAL" clId="{5337204F-6A06-4668-9EC2-59FBFA6B0D79}" dt="2024-03-15T12:08:11.465" v="3352" actId="1076"/>
          <ac:picMkLst>
            <pc:docMk/>
            <pc:sldMk cId="3596980609" sldId="2134805993"/>
            <ac:picMk id="6" creationId="{5FF01268-9987-23EC-96A4-D3D099B0AA72}"/>
          </ac:picMkLst>
        </pc:picChg>
        <pc:picChg chg="add mod">
          <ac:chgData name="Angela Khanali Mutsotso" userId="f2187219-0cf6-4017-8dcd-5e0007a16163" providerId="ADAL" clId="{5337204F-6A06-4668-9EC2-59FBFA6B0D79}" dt="2024-03-15T12:08:28.237" v="3356" actId="1076"/>
          <ac:picMkLst>
            <pc:docMk/>
            <pc:sldMk cId="3596980609" sldId="2134805993"/>
            <ac:picMk id="7" creationId="{5961B35D-02FC-5BCB-8AFB-05BDF6C08BDD}"/>
          </ac:picMkLst>
        </pc:picChg>
        <pc:picChg chg="add mod">
          <ac:chgData name="Angela Khanali Mutsotso" userId="f2187219-0cf6-4017-8dcd-5e0007a16163" providerId="ADAL" clId="{5337204F-6A06-4668-9EC2-59FBFA6B0D79}" dt="2024-03-15T12:08:52.020" v="3360" actId="1076"/>
          <ac:picMkLst>
            <pc:docMk/>
            <pc:sldMk cId="3596980609" sldId="2134805993"/>
            <ac:picMk id="8" creationId="{143F3F29-69B2-B94C-3504-27C0628F90A0}"/>
          </ac:picMkLst>
        </pc:picChg>
        <pc:picChg chg="add mod">
          <ac:chgData name="Angela Khanali Mutsotso" userId="f2187219-0cf6-4017-8dcd-5e0007a16163" providerId="ADAL" clId="{5337204F-6A06-4668-9EC2-59FBFA6B0D79}" dt="2024-03-15T12:08:11.465" v="3352" actId="1076"/>
          <ac:picMkLst>
            <pc:docMk/>
            <pc:sldMk cId="3596980609" sldId="2134805993"/>
            <ac:picMk id="9" creationId="{A5B873C8-E54D-704F-5AFD-03B0DE27BD85}"/>
          </ac:picMkLst>
        </pc:picChg>
        <pc:picChg chg="del">
          <ac:chgData name="Angela Khanali Mutsotso" userId="f2187219-0cf6-4017-8dcd-5e0007a16163" providerId="ADAL" clId="{5337204F-6A06-4668-9EC2-59FBFA6B0D79}" dt="2024-03-15T12:04:09.163" v="3315" actId="478"/>
          <ac:picMkLst>
            <pc:docMk/>
            <pc:sldMk cId="3596980609" sldId="2134805993"/>
            <ac:picMk id="12" creationId="{E687D80E-50B2-6F36-05A7-C28D7BAD0870}"/>
          </ac:picMkLst>
        </pc:picChg>
        <pc:picChg chg="del">
          <ac:chgData name="Angela Khanali Mutsotso" userId="f2187219-0cf6-4017-8dcd-5e0007a16163" providerId="ADAL" clId="{5337204F-6A06-4668-9EC2-59FBFA6B0D79}" dt="2024-03-15T12:04:10.661" v="3316" actId="478"/>
          <ac:picMkLst>
            <pc:docMk/>
            <pc:sldMk cId="3596980609" sldId="2134805993"/>
            <ac:picMk id="14" creationId="{DC371CE1-464B-C314-AAFD-F6B0D3D84A76}"/>
          </ac:picMkLst>
        </pc:picChg>
        <pc:picChg chg="add mod">
          <ac:chgData name="Angela Khanali Mutsotso" userId="f2187219-0cf6-4017-8dcd-5e0007a16163" providerId="ADAL" clId="{5337204F-6A06-4668-9EC2-59FBFA6B0D79}" dt="2024-03-15T12:08:31.181" v="3357" actId="1076"/>
          <ac:picMkLst>
            <pc:docMk/>
            <pc:sldMk cId="3596980609" sldId="2134805993"/>
            <ac:picMk id="18" creationId="{B0007653-A38C-0664-89C7-62AA6DC32060}"/>
          </ac:picMkLst>
        </pc:picChg>
        <pc:picChg chg="add mod">
          <ac:chgData name="Angela Khanali Mutsotso" userId="f2187219-0cf6-4017-8dcd-5e0007a16163" providerId="ADAL" clId="{5337204F-6A06-4668-9EC2-59FBFA6B0D79}" dt="2024-03-15T12:08:53.948" v="3361" actId="1076"/>
          <ac:picMkLst>
            <pc:docMk/>
            <pc:sldMk cId="3596980609" sldId="2134805993"/>
            <ac:picMk id="20" creationId="{CFD4EABF-FC4F-E7E0-523A-C1C90CDF1C93}"/>
          </ac:picMkLst>
        </pc:picChg>
      </pc:sldChg>
      <pc:sldChg chg="addSp delSp modSp add del mod modCm modNotes modNotesTx">
        <pc:chgData name="Angela Khanali Mutsotso" userId="f2187219-0cf6-4017-8dcd-5e0007a16163" providerId="ADAL" clId="{5337204F-6A06-4668-9EC2-59FBFA6B0D79}" dt="2024-03-15T14:48:32.493" v="4272" actId="2711"/>
        <pc:sldMkLst>
          <pc:docMk/>
          <pc:sldMk cId="800089490" sldId="2134806009"/>
        </pc:sldMkLst>
        <pc:spChg chg="mod">
          <ac:chgData name="Angela Khanali Mutsotso" userId="f2187219-0cf6-4017-8dcd-5e0007a16163" providerId="ADAL" clId="{5337204F-6A06-4668-9EC2-59FBFA6B0D79}" dt="2024-03-15T14:48:32.493" v="4272" actId="2711"/>
          <ac:spMkLst>
            <pc:docMk/>
            <pc:sldMk cId="800089490" sldId="2134806009"/>
            <ac:spMk id="2" creationId="{6488B893-44C9-9035-3F08-FCF563521CDA}"/>
          </ac:spMkLst>
        </pc:spChg>
        <pc:spChg chg="add del">
          <ac:chgData name="Angela Khanali Mutsotso" userId="f2187219-0cf6-4017-8dcd-5e0007a16163" providerId="ADAL" clId="{5337204F-6A06-4668-9EC2-59FBFA6B0D79}" dt="2024-03-01T10:58:20.341" v="794" actId="22"/>
          <ac:spMkLst>
            <pc:docMk/>
            <pc:sldMk cId="800089490" sldId="2134806009"/>
            <ac:spMk id="5" creationId="{25480CF6-DDD5-9530-FCA0-BF091431583A}"/>
          </ac:spMkLst>
        </pc:spChg>
        <pc:spChg chg="mod">
          <ac:chgData name="Angela Khanali Mutsotso" userId="f2187219-0cf6-4017-8dcd-5e0007a16163" providerId="ADAL" clId="{5337204F-6A06-4668-9EC2-59FBFA6B0D79}" dt="2024-03-15T14:48:32.493" v="4272" actId="2711"/>
          <ac:spMkLst>
            <pc:docMk/>
            <pc:sldMk cId="800089490" sldId="2134806009"/>
            <ac:spMk id="8" creationId="{46248936-C7E6-48DD-91DA-EAD275F750CE}"/>
          </ac:spMkLst>
        </pc:spChg>
        <pc:spChg chg="add mod">
          <ac:chgData name="Angela Khanali Mutsotso" userId="f2187219-0cf6-4017-8dcd-5e0007a16163" providerId="ADAL" clId="{5337204F-6A06-4668-9EC2-59FBFA6B0D79}" dt="2024-03-15T14:48:32.493" v="4272" actId="2711"/>
          <ac:spMkLst>
            <pc:docMk/>
            <pc:sldMk cId="800089490" sldId="2134806009"/>
            <ac:spMk id="10" creationId="{F5563484-787C-AD66-7027-1CEDF30A9232}"/>
          </ac:spMkLst>
        </pc:spChg>
        <pc:spChg chg="add mod">
          <ac:chgData name="Angela Khanali Mutsotso" userId="f2187219-0cf6-4017-8dcd-5e0007a16163" providerId="ADAL" clId="{5337204F-6A06-4668-9EC2-59FBFA6B0D79}" dt="2024-03-15T14:48:32.493" v="4272" actId="2711"/>
          <ac:spMkLst>
            <pc:docMk/>
            <pc:sldMk cId="800089490" sldId="2134806009"/>
            <ac:spMk id="14" creationId="{5DAB09FB-365A-3916-261E-31D11EE2F01C}"/>
          </ac:spMkLst>
        </pc:spChg>
        <pc:spChg chg="add mod">
          <ac:chgData name="Angela Khanali Mutsotso" userId="f2187219-0cf6-4017-8dcd-5e0007a16163" providerId="ADAL" clId="{5337204F-6A06-4668-9EC2-59FBFA6B0D79}" dt="2024-03-15T14:48:32.493" v="4272" actId="2711"/>
          <ac:spMkLst>
            <pc:docMk/>
            <pc:sldMk cId="800089490" sldId="2134806009"/>
            <ac:spMk id="18" creationId="{8FD2D699-AFFA-9FA6-42D0-64E7DBD9A10A}"/>
          </ac:spMkLst>
        </pc:spChg>
        <pc:picChg chg="add mod">
          <ac:chgData name="Angela Khanali Mutsotso" userId="f2187219-0cf6-4017-8dcd-5e0007a16163" providerId="ADAL" clId="{5337204F-6A06-4668-9EC2-59FBFA6B0D79}" dt="2024-03-01T11:07:35.705" v="1207" actId="1076"/>
          <ac:picMkLst>
            <pc:docMk/>
            <pc:sldMk cId="800089490" sldId="2134806009"/>
            <ac:picMk id="7" creationId="{87FE0689-6308-874F-6178-153FF3AA2F9D}"/>
          </ac:picMkLst>
        </pc:picChg>
        <pc:picChg chg="del">
          <ac:chgData name="Angela Khanali Mutsotso" userId="f2187219-0cf6-4017-8dcd-5e0007a16163" providerId="ADAL" clId="{5337204F-6A06-4668-9EC2-59FBFA6B0D79}" dt="2024-03-01T10:58:17.668" v="792" actId="478"/>
          <ac:picMkLst>
            <pc:docMk/>
            <pc:sldMk cId="800089490" sldId="2134806009"/>
            <ac:picMk id="9" creationId="{1E229B44-F826-4C5A-8309-7F38E06E3F37}"/>
          </ac:picMkLst>
        </pc:picChg>
        <pc:picChg chg="del">
          <ac:chgData name="Angela Khanali Mutsotso" userId="f2187219-0cf6-4017-8dcd-5e0007a16163" providerId="ADAL" clId="{5337204F-6A06-4668-9EC2-59FBFA6B0D79}" dt="2024-03-01T10:58:15.136" v="790" actId="478"/>
          <ac:picMkLst>
            <pc:docMk/>
            <pc:sldMk cId="800089490" sldId="2134806009"/>
            <ac:picMk id="12" creationId="{730E23D5-AB79-4C0F-B0A2-B89FE030F214}"/>
          </ac:picMkLst>
        </pc:picChg>
        <pc:picChg chg="add mod">
          <ac:chgData name="Angela Khanali Mutsotso" userId="f2187219-0cf6-4017-8dcd-5e0007a16163" providerId="ADAL" clId="{5337204F-6A06-4668-9EC2-59FBFA6B0D79}" dt="2024-03-01T11:07:30.056" v="1206" actId="1076"/>
          <ac:picMkLst>
            <pc:docMk/>
            <pc:sldMk cId="800089490" sldId="2134806009"/>
            <ac:picMk id="13" creationId="{77C2BB75-2B02-4B2F-13B8-DFB39264A738}"/>
          </ac:picMkLst>
        </pc:picChg>
        <pc:picChg chg="del">
          <ac:chgData name="Angela Khanali Mutsotso" userId="f2187219-0cf6-4017-8dcd-5e0007a16163" providerId="ADAL" clId="{5337204F-6A06-4668-9EC2-59FBFA6B0D79}" dt="2024-03-01T10:58:16.387" v="791" actId="478"/>
          <ac:picMkLst>
            <pc:docMk/>
            <pc:sldMk cId="800089490" sldId="2134806009"/>
            <ac:picMk id="16" creationId="{9C2B0153-DD0F-450C-B694-98E9165D606D}"/>
          </ac:picMkLst>
        </pc:picChg>
        <pc:picChg chg="add mod">
          <ac:chgData name="Angela Khanali Mutsotso" userId="f2187219-0cf6-4017-8dcd-5e0007a16163" providerId="ADAL" clId="{5337204F-6A06-4668-9EC2-59FBFA6B0D79}" dt="2024-03-15T11:50:30.636" v="3209" actId="1076"/>
          <ac:picMkLst>
            <pc:docMk/>
            <pc:sldMk cId="800089490" sldId="2134806009"/>
            <ac:picMk id="17" creationId="{AEC61209-1CFD-7129-06DC-BE8CBFD07F69}"/>
          </ac:picMkLst>
        </pc:picChg>
        <pc:picChg chg="add del mod">
          <ac:chgData name="Angela Khanali Mutsotso" userId="f2187219-0cf6-4017-8dcd-5e0007a16163" providerId="ADAL" clId="{5337204F-6A06-4668-9EC2-59FBFA6B0D79}" dt="2024-03-01T10:59:18.783" v="996" actId="478"/>
          <ac:picMkLst>
            <pc:docMk/>
            <pc:sldMk cId="800089490" sldId="2134806009"/>
            <ac:picMk id="1026" creationId="{F6E4578D-506B-A700-6895-D6A591C81D69}"/>
          </ac:picMkLst>
        </pc:picChg>
        <pc:picChg chg="del">
          <ac:chgData name="Angela Khanali Mutsotso" userId="f2187219-0cf6-4017-8dcd-5e0007a16163" providerId="ADAL" clId="{5337204F-6A06-4668-9EC2-59FBFA6B0D79}" dt="2024-03-01T10:58:13.722" v="789" actId="478"/>
          <ac:picMkLst>
            <pc:docMk/>
            <pc:sldMk cId="800089490" sldId="2134806009"/>
            <ac:picMk id="101378" creationId="{0E9DD925-ED13-4C6D-BAA0-E9908C7BF537}"/>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1:57.362" v="3379"/>
              <pc2:cmMkLst xmlns:pc2="http://schemas.microsoft.com/office/powerpoint/2019/9/main/command">
                <pc:docMk/>
                <pc:sldMk cId="800089490" sldId="2134806009"/>
                <pc2:cmMk id="{F957D74C-0B18-458F-BAE9-5FA3E27AF96C}"/>
              </pc2:cmMkLst>
              <pc226:cmRplyChg chg="add">
                <pc226:chgData name="Angela Khanali Mutsotso" userId="f2187219-0cf6-4017-8dcd-5e0007a16163" providerId="ADAL" clId="{5337204F-6A06-4668-9EC2-59FBFA6B0D79}" dt="2024-03-06T11:10:20.886" v="1827"/>
                <pc2:cmRplyMkLst xmlns:pc2="http://schemas.microsoft.com/office/powerpoint/2019/9/main/command">
                  <pc:docMk/>
                  <pc:sldMk cId="800089490" sldId="2134806009"/>
                  <pc2:cmMk id="{F957D74C-0B18-458F-BAE9-5FA3E27AF96C}"/>
                  <pc2:cmRplyMk id="{BF11B7E9-D2BB-474A-AA51-5E0E82CB9B18}"/>
                </pc2:cmRplyMkLst>
              </pc226:cmRplyChg>
            </pc226:cmChg>
            <pc226:cmChg xmlns:pc226="http://schemas.microsoft.com/office/powerpoint/2022/06/main/command" chg="mod">
              <pc226:chgData name="Angela Khanali Mutsotso" userId="f2187219-0cf6-4017-8dcd-5e0007a16163" providerId="ADAL" clId="{5337204F-6A06-4668-9EC2-59FBFA6B0D79}" dt="2024-03-15T12:11:59.764" v="3380"/>
              <pc2:cmMkLst xmlns:pc2="http://schemas.microsoft.com/office/powerpoint/2019/9/main/command">
                <pc:docMk/>
                <pc:sldMk cId="800089490" sldId="2134806009"/>
                <pc2:cmMk id="{BCB11ADE-3D56-44E5-9D47-D54C1297B704}"/>
              </pc2:cmMkLst>
              <pc226:cmRplyChg chg="add">
                <pc226:chgData name="Angela Khanali Mutsotso" userId="f2187219-0cf6-4017-8dcd-5e0007a16163" providerId="ADAL" clId="{5337204F-6A06-4668-9EC2-59FBFA6B0D79}" dt="2024-03-15T12:10:54.844" v="3376"/>
                <pc2:cmRplyMkLst xmlns:pc2="http://schemas.microsoft.com/office/powerpoint/2019/9/main/command">
                  <pc:docMk/>
                  <pc:sldMk cId="800089490" sldId="2134806009"/>
                  <pc2:cmMk id="{BCB11ADE-3D56-44E5-9D47-D54C1297B704}"/>
                  <pc2:cmRplyMk id="{CEBA701F-F89C-4633-B2C4-2DF1F401FA7E}"/>
                </pc2:cmRplyMkLst>
              </pc226:cmRplyChg>
            </pc226:cmChg>
          </p:ext>
        </pc:extLst>
      </pc:sldChg>
      <pc:sldChg chg="addSp delSp modSp mod modCm modNotesTx">
        <pc:chgData name="Angela Khanali Mutsotso" userId="f2187219-0cf6-4017-8dcd-5e0007a16163" providerId="ADAL" clId="{5337204F-6A06-4668-9EC2-59FBFA6B0D79}" dt="2024-03-15T14:46:25.477" v="4264" actId="2711"/>
        <pc:sldMkLst>
          <pc:docMk/>
          <pc:sldMk cId="4270065048" sldId="2134806014"/>
        </pc:sldMkLst>
        <pc:spChg chg="mod">
          <ac:chgData name="Angela Khanali Mutsotso" userId="f2187219-0cf6-4017-8dcd-5e0007a16163" providerId="ADAL" clId="{5337204F-6A06-4668-9EC2-59FBFA6B0D79}" dt="2024-03-15T14:46:25.477" v="4264" actId="2711"/>
          <ac:spMkLst>
            <pc:docMk/>
            <pc:sldMk cId="4270065048" sldId="2134806014"/>
            <ac:spMk id="2" creationId="{3263325C-8D52-F721-A313-E8D3A2926916}"/>
          </ac:spMkLst>
        </pc:spChg>
        <pc:spChg chg="mod">
          <ac:chgData name="Angela Khanali Mutsotso" userId="f2187219-0cf6-4017-8dcd-5e0007a16163" providerId="ADAL" clId="{5337204F-6A06-4668-9EC2-59FBFA6B0D79}" dt="2024-03-15T11:48:48.399" v="3200" actId="2711"/>
          <ac:spMkLst>
            <pc:docMk/>
            <pc:sldMk cId="4270065048" sldId="2134806014"/>
            <ac:spMk id="4" creationId="{E614ECFF-D44B-451B-FF0C-432D15F2788F}"/>
          </ac:spMkLst>
        </pc:spChg>
        <pc:picChg chg="add mod">
          <ac:chgData name="Angela Khanali Mutsotso" userId="f2187219-0cf6-4017-8dcd-5e0007a16163" providerId="ADAL" clId="{5337204F-6A06-4668-9EC2-59FBFA6B0D79}" dt="2024-03-01T16:57:37.988" v="1277" actId="1076"/>
          <ac:picMkLst>
            <pc:docMk/>
            <pc:sldMk cId="4270065048" sldId="2134806014"/>
            <ac:picMk id="3" creationId="{ABAFCA76-A7E0-C2EB-46B9-4B1117B0E11D}"/>
          </ac:picMkLst>
        </pc:picChg>
        <pc:picChg chg="mod">
          <ac:chgData name="Angela Khanali Mutsotso" userId="f2187219-0cf6-4017-8dcd-5e0007a16163" providerId="ADAL" clId="{5337204F-6A06-4668-9EC2-59FBFA6B0D79}" dt="2024-03-15T12:09:23.419" v="3363" actId="1076"/>
          <ac:picMkLst>
            <pc:docMk/>
            <pc:sldMk cId="4270065048" sldId="2134806014"/>
            <ac:picMk id="5" creationId="{2431D1F6-161C-FFA5-C495-DD206C86E7FC}"/>
          </ac:picMkLst>
        </pc:picChg>
        <pc:picChg chg="mod">
          <ac:chgData name="Angela Khanali Mutsotso" userId="f2187219-0cf6-4017-8dcd-5e0007a16163" providerId="ADAL" clId="{5337204F-6A06-4668-9EC2-59FBFA6B0D79}" dt="2024-03-15T11:54:03.792" v="3221" actId="1076"/>
          <ac:picMkLst>
            <pc:docMk/>
            <pc:sldMk cId="4270065048" sldId="2134806014"/>
            <ac:picMk id="6" creationId="{85AED23B-4FB3-CF76-2DDC-1D93902FF2F6}"/>
          </ac:picMkLst>
        </pc:picChg>
        <pc:picChg chg="del mod">
          <ac:chgData name="Angela Khanali Mutsotso" userId="f2187219-0cf6-4017-8dcd-5e0007a16163" providerId="ADAL" clId="{5337204F-6A06-4668-9EC2-59FBFA6B0D79}" dt="2024-03-15T11:53:49.152" v="3217" actId="478"/>
          <ac:picMkLst>
            <pc:docMk/>
            <pc:sldMk cId="4270065048" sldId="2134806014"/>
            <ac:picMk id="7" creationId="{27311627-58EE-C088-DF0A-EF45BD5A1E64}"/>
          </ac:picMkLst>
        </pc:picChg>
        <pc:picChg chg="add mod">
          <ac:chgData name="Angela Khanali Mutsotso" userId="f2187219-0cf6-4017-8dcd-5e0007a16163" providerId="ADAL" clId="{5337204F-6A06-4668-9EC2-59FBFA6B0D79}" dt="2024-03-01T11:14:28.523" v="1241" actId="1440"/>
          <ac:picMkLst>
            <pc:docMk/>
            <pc:sldMk cId="4270065048" sldId="2134806014"/>
            <ac:picMk id="8" creationId="{CB077CA8-5D1E-957B-A60C-45088CA4C0F5}"/>
          </ac:picMkLst>
        </pc:picChg>
        <pc:picChg chg="mod">
          <ac:chgData name="Angela Khanali Mutsotso" userId="f2187219-0cf6-4017-8dcd-5e0007a16163" providerId="ADAL" clId="{5337204F-6A06-4668-9EC2-59FBFA6B0D79}" dt="2024-03-15T11:54:00.574" v="3220" actId="1076"/>
          <ac:picMkLst>
            <pc:docMk/>
            <pc:sldMk cId="4270065048" sldId="2134806014"/>
            <ac:picMk id="9" creationId="{9287FA3E-5724-1EFF-BF71-C30FCC749C6A}"/>
          </ac:picMkLst>
        </pc:picChg>
        <pc:picChg chg="add mod">
          <ac:chgData name="Angela Khanali Mutsotso" userId="f2187219-0cf6-4017-8dcd-5e0007a16163" providerId="ADAL" clId="{5337204F-6A06-4668-9EC2-59FBFA6B0D79}" dt="2024-03-01T16:57:43.188" v="1278" actId="1076"/>
          <ac:picMkLst>
            <pc:docMk/>
            <pc:sldMk cId="4270065048" sldId="2134806014"/>
            <ac:picMk id="10" creationId="{E7498A92-FB36-0DC3-5ACE-B663837CD464}"/>
          </ac:picMkLst>
        </pc:picChg>
        <pc:picChg chg="add mod">
          <ac:chgData name="Angela Khanali Mutsotso" userId="f2187219-0cf6-4017-8dcd-5e0007a16163" providerId="ADAL" clId="{5337204F-6A06-4668-9EC2-59FBFA6B0D79}" dt="2024-03-15T11:54:06.580" v="3222" actId="1076"/>
          <ac:picMkLst>
            <pc:docMk/>
            <pc:sldMk cId="4270065048" sldId="2134806014"/>
            <ac:picMk id="11" creationId="{868EEF75-E063-B94E-3C0D-38F721ACC420}"/>
          </ac:picMkLst>
        </pc:picChg>
        <pc:picChg chg="del mod">
          <ac:chgData name="Angela Khanali Mutsotso" userId="f2187219-0cf6-4017-8dcd-5e0007a16163" providerId="ADAL" clId="{5337204F-6A06-4668-9EC2-59FBFA6B0D79}" dt="2024-03-01T11:13:58.048" v="1234" actId="478"/>
          <ac:picMkLst>
            <pc:docMk/>
            <pc:sldMk cId="4270065048" sldId="2134806014"/>
            <ac:picMk id="11" creationId="{B3248B7F-4A1C-9CF7-02D5-4F859B8B68AD}"/>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4:36.325" v="3576"/>
              <pc2:cmMkLst xmlns:pc2="http://schemas.microsoft.com/office/powerpoint/2019/9/main/command">
                <pc:docMk/>
                <pc:sldMk cId="4270065048" sldId="2134806014"/>
                <pc2:cmMk id="{339C3F5B-87DD-4E6C-BEC6-83208F1FA18A}"/>
              </pc2:cmMkLst>
            </pc226:cmChg>
            <pc226:cmChg xmlns:pc226="http://schemas.microsoft.com/office/powerpoint/2022/06/main/command" chg="mod">
              <pc226:chgData name="Angela Khanali Mutsotso" userId="f2187219-0cf6-4017-8dcd-5e0007a16163" providerId="ADAL" clId="{5337204F-6A06-4668-9EC2-59FBFA6B0D79}" dt="2024-03-15T12:14:52.040" v="3604"/>
              <pc2:cmMkLst xmlns:pc2="http://schemas.microsoft.com/office/powerpoint/2019/9/main/command">
                <pc:docMk/>
                <pc:sldMk cId="4270065048" sldId="2134806014"/>
                <pc2:cmMk id="{AB588DA4-CC4E-45A6-9F5E-6AB7E22BCEE8}"/>
              </pc2:cmMkLst>
            </pc226:cmChg>
          </p:ext>
        </pc:extLst>
      </pc:sldChg>
      <pc:sldChg chg="addSp delSp modSp mod modShow modCm modNotesTx">
        <pc:chgData name="Angela Khanali Mutsotso" userId="f2187219-0cf6-4017-8dcd-5e0007a16163" providerId="ADAL" clId="{5337204F-6A06-4668-9EC2-59FBFA6B0D79}" dt="2024-03-15T15:37:10.911" v="6481" actId="729"/>
        <pc:sldMkLst>
          <pc:docMk/>
          <pc:sldMk cId="953281676" sldId="2134806015"/>
        </pc:sldMkLst>
        <pc:spChg chg="mod">
          <ac:chgData name="Angela Khanali Mutsotso" userId="f2187219-0cf6-4017-8dcd-5e0007a16163" providerId="ADAL" clId="{5337204F-6A06-4668-9EC2-59FBFA6B0D79}" dt="2024-03-15T14:47:55.257" v="4270" actId="2711"/>
          <ac:spMkLst>
            <pc:docMk/>
            <pc:sldMk cId="953281676" sldId="2134806015"/>
            <ac:spMk id="2" creationId="{2998E5E9-6F13-0C4E-9E6A-10681B7E1984}"/>
          </ac:spMkLst>
        </pc:spChg>
        <pc:spChg chg="mod">
          <ac:chgData name="Angela Khanali Mutsotso" userId="f2187219-0cf6-4017-8dcd-5e0007a16163" providerId="ADAL" clId="{5337204F-6A06-4668-9EC2-59FBFA6B0D79}" dt="2024-03-15T14:47:55.257" v="4270" actId="2711"/>
          <ac:spMkLst>
            <pc:docMk/>
            <pc:sldMk cId="953281676" sldId="2134806015"/>
            <ac:spMk id="5" creationId="{8AD82B73-72AE-FA38-9065-36A1F9DA8A0F}"/>
          </ac:spMkLst>
        </pc:spChg>
        <pc:spChg chg="mod">
          <ac:chgData name="Angela Khanali Mutsotso" userId="f2187219-0cf6-4017-8dcd-5e0007a16163" providerId="ADAL" clId="{5337204F-6A06-4668-9EC2-59FBFA6B0D79}" dt="2024-03-15T14:47:55.257" v="4270" actId="2711"/>
          <ac:spMkLst>
            <pc:docMk/>
            <pc:sldMk cId="953281676" sldId="2134806015"/>
            <ac:spMk id="7" creationId="{2B7AF292-CE3F-8447-8CBC-B85BB59B0BD6}"/>
          </ac:spMkLst>
        </pc:spChg>
        <pc:spChg chg="mod">
          <ac:chgData name="Angela Khanali Mutsotso" userId="f2187219-0cf6-4017-8dcd-5e0007a16163" providerId="ADAL" clId="{5337204F-6A06-4668-9EC2-59FBFA6B0D79}" dt="2024-03-15T14:47:55.257" v="4270" actId="2711"/>
          <ac:spMkLst>
            <pc:docMk/>
            <pc:sldMk cId="953281676" sldId="2134806015"/>
            <ac:spMk id="9" creationId="{7E514A52-4527-364B-9B61-754151F36BC5}"/>
          </ac:spMkLst>
        </pc:spChg>
        <pc:spChg chg="mod">
          <ac:chgData name="Angela Khanali Mutsotso" userId="f2187219-0cf6-4017-8dcd-5e0007a16163" providerId="ADAL" clId="{5337204F-6A06-4668-9EC2-59FBFA6B0D79}" dt="2024-03-15T14:47:55.257" v="4270" actId="2711"/>
          <ac:spMkLst>
            <pc:docMk/>
            <pc:sldMk cId="953281676" sldId="2134806015"/>
            <ac:spMk id="11" creationId="{7F536F0A-2280-242C-2813-D8CCA1A3A3FA}"/>
          </ac:spMkLst>
        </pc:spChg>
        <pc:spChg chg="mod">
          <ac:chgData name="Angela Khanali Mutsotso" userId="f2187219-0cf6-4017-8dcd-5e0007a16163" providerId="ADAL" clId="{5337204F-6A06-4668-9EC2-59FBFA6B0D79}" dt="2024-03-15T14:47:55.257" v="4270" actId="2711"/>
          <ac:spMkLst>
            <pc:docMk/>
            <pc:sldMk cId="953281676" sldId="2134806015"/>
            <ac:spMk id="15" creationId="{D6EFED7F-B935-1D38-64DA-12812F0ED5F7}"/>
          </ac:spMkLst>
        </pc:spChg>
        <pc:spChg chg="mod">
          <ac:chgData name="Angela Khanali Mutsotso" userId="f2187219-0cf6-4017-8dcd-5e0007a16163" providerId="ADAL" clId="{5337204F-6A06-4668-9EC2-59FBFA6B0D79}" dt="2024-03-15T14:47:55.257" v="4270" actId="2711"/>
          <ac:spMkLst>
            <pc:docMk/>
            <pc:sldMk cId="953281676" sldId="2134806015"/>
            <ac:spMk id="16" creationId="{96E837B1-1C37-E67D-E3D5-3F68878FE8D1}"/>
          </ac:spMkLst>
        </pc:spChg>
        <pc:picChg chg="del">
          <ac:chgData name="Angela Khanali Mutsotso" userId="f2187219-0cf6-4017-8dcd-5e0007a16163" providerId="ADAL" clId="{5337204F-6A06-4668-9EC2-59FBFA6B0D79}" dt="2024-03-01T16:58:34.650" v="1287" actId="478"/>
          <ac:picMkLst>
            <pc:docMk/>
            <pc:sldMk cId="953281676" sldId="2134806015"/>
            <ac:picMk id="3" creationId="{372B5992-109B-819C-A3D8-3340F2132578}"/>
          </ac:picMkLst>
        </pc:picChg>
        <pc:picChg chg="add mod">
          <ac:chgData name="Angela Khanali Mutsotso" userId="f2187219-0cf6-4017-8dcd-5e0007a16163" providerId="ADAL" clId="{5337204F-6A06-4668-9EC2-59FBFA6B0D79}" dt="2024-03-01T16:58:35.331" v="1288"/>
          <ac:picMkLst>
            <pc:docMk/>
            <pc:sldMk cId="953281676" sldId="2134806015"/>
            <ac:picMk id="12" creationId="{F0BE109D-2C77-327A-4EFE-9530704748EF}"/>
          </ac:picMkLst>
        </pc:picChg>
        <pc:picChg chg="add mod">
          <ac:chgData name="Angela Khanali Mutsotso" userId="f2187219-0cf6-4017-8dcd-5e0007a16163" providerId="ADAL" clId="{5337204F-6A06-4668-9EC2-59FBFA6B0D79}" dt="2024-03-01T16:58:35.331" v="1288"/>
          <ac:picMkLst>
            <pc:docMk/>
            <pc:sldMk cId="953281676" sldId="2134806015"/>
            <ac:picMk id="14" creationId="{D3A93146-32A8-EA0E-5582-A811860E3527}"/>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2:57.183" v="3384"/>
              <pc2:cmMkLst xmlns:pc2="http://schemas.microsoft.com/office/powerpoint/2019/9/main/command">
                <pc:docMk/>
                <pc:sldMk cId="953281676" sldId="2134806015"/>
                <pc2:cmMk id="{1F9DA126-8D2A-4B0F-91B7-415F788D6D73}"/>
              </pc2:cmMkLst>
            </pc226:cmChg>
          </p:ext>
        </pc:extLst>
      </pc:sldChg>
      <pc:sldChg chg="addSp delSp modSp mod ord modShow modCm modNotesTx">
        <pc:chgData name="Angela Khanali Mutsotso" userId="f2187219-0cf6-4017-8dcd-5e0007a16163" providerId="ADAL" clId="{5337204F-6A06-4668-9EC2-59FBFA6B0D79}" dt="2024-03-15T15:37:02.765" v="6480" actId="729"/>
        <pc:sldMkLst>
          <pc:docMk/>
          <pc:sldMk cId="1976558460" sldId="2134806016"/>
        </pc:sldMkLst>
        <pc:spChg chg="mod">
          <ac:chgData name="Angela Khanali Mutsotso" userId="f2187219-0cf6-4017-8dcd-5e0007a16163" providerId="ADAL" clId="{5337204F-6A06-4668-9EC2-59FBFA6B0D79}" dt="2024-03-15T15:09:50.240" v="5008" actId="207"/>
          <ac:spMkLst>
            <pc:docMk/>
            <pc:sldMk cId="1976558460" sldId="2134806016"/>
            <ac:spMk id="2" creationId="{2998E5E9-6F13-0C4E-9E6A-10681B7E1984}"/>
          </ac:spMkLst>
        </pc:spChg>
        <pc:spChg chg="mod">
          <ac:chgData name="Angela Khanali Mutsotso" userId="f2187219-0cf6-4017-8dcd-5e0007a16163" providerId="ADAL" clId="{5337204F-6A06-4668-9EC2-59FBFA6B0D79}" dt="2024-03-15T14:47:38.707" v="4269" actId="2711"/>
          <ac:spMkLst>
            <pc:docMk/>
            <pc:sldMk cId="1976558460" sldId="2134806016"/>
            <ac:spMk id="4" creationId="{9D38872E-16F1-48A0-68D6-AFF00FE49EC4}"/>
          </ac:spMkLst>
        </pc:spChg>
        <pc:spChg chg="mod">
          <ac:chgData name="Angela Khanali Mutsotso" userId="f2187219-0cf6-4017-8dcd-5e0007a16163" providerId="ADAL" clId="{5337204F-6A06-4668-9EC2-59FBFA6B0D79}" dt="2024-03-15T14:47:38.707" v="4269" actId="2711"/>
          <ac:spMkLst>
            <pc:docMk/>
            <pc:sldMk cId="1976558460" sldId="2134806016"/>
            <ac:spMk id="9" creationId="{7E514A52-4527-364B-9B61-754151F36BC5}"/>
          </ac:spMkLst>
        </pc:spChg>
        <pc:spChg chg="mod">
          <ac:chgData name="Angela Khanali Mutsotso" userId="f2187219-0cf6-4017-8dcd-5e0007a16163" providerId="ADAL" clId="{5337204F-6A06-4668-9EC2-59FBFA6B0D79}" dt="2024-02-29T13:51:24.560" v="25" actId="1076"/>
          <ac:spMkLst>
            <pc:docMk/>
            <pc:sldMk cId="1976558460" sldId="2134806016"/>
            <ac:spMk id="10" creationId="{95C7C784-55ED-AB42-8010-5B62EDB0EA34}"/>
          </ac:spMkLst>
        </pc:spChg>
        <pc:spChg chg="mod">
          <ac:chgData name="Angela Khanali Mutsotso" userId="f2187219-0cf6-4017-8dcd-5e0007a16163" providerId="ADAL" clId="{5337204F-6A06-4668-9EC2-59FBFA6B0D79}" dt="2024-02-29T13:51:18.454" v="24" actId="1076"/>
          <ac:spMkLst>
            <pc:docMk/>
            <pc:sldMk cId="1976558460" sldId="2134806016"/>
            <ac:spMk id="13" creationId="{2677DFBB-7449-60E4-A20D-780E40D04CFD}"/>
          </ac:spMkLst>
        </pc:spChg>
        <pc:spChg chg="mod">
          <ac:chgData name="Angela Khanali Mutsotso" userId="f2187219-0cf6-4017-8dcd-5e0007a16163" providerId="ADAL" clId="{5337204F-6A06-4668-9EC2-59FBFA6B0D79}" dt="2024-03-15T14:47:38.707" v="4269" actId="2711"/>
          <ac:spMkLst>
            <pc:docMk/>
            <pc:sldMk cId="1976558460" sldId="2134806016"/>
            <ac:spMk id="14" creationId="{89972454-3E42-0896-8705-98835C54A750}"/>
          </ac:spMkLst>
        </pc:spChg>
        <pc:spChg chg="mod">
          <ac:chgData name="Angela Khanali Mutsotso" userId="f2187219-0cf6-4017-8dcd-5e0007a16163" providerId="ADAL" clId="{5337204F-6A06-4668-9EC2-59FBFA6B0D79}" dt="2024-03-15T14:47:38.707" v="4269" actId="2711"/>
          <ac:spMkLst>
            <pc:docMk/>
            <pc:sldMk cId="1976558460" sldId="2134806016"/>
            <ac:spMk id="15" creationId="{6C225FA4-152A-C1CB-48E8-58137EEE0322}"/>
          </ac:spMkLst>
        </pc:spChg>
        <pc:picChg chg="del">
          <ac:chgData name="Angela Khanali Mutsotso" userId="f2187219-0cf6-4017-8dcd-5e0007a16163" providerId="ADAL" clId="{5337204F-6A06-4668-9EC2-59FBFA6B0D79}" dt="2024-03-01T16:58:30.497" v="1285" actId="478"/>
          <ac:picMkLst>
            <pc:docMk/>
            <pc:sldMk cId="1976558460" sldId="2134806016"/>
            <ac:picMk id="3" creationId="{372B5992-109B-819C-A3D8-3340F2132578}"/>
          </ac:picMkLst>
        </pc:picChg>
        <pc:picChg chg="mod">
          <ac:chgData name="Angela Khanali Mutsotso" userId="f2187219-0cf6-4017-8dcd-5e0007a16163" providerId="ADAL" clId="{5337204F-6A06-4668-9EC2-59FBFA6B0D79}" dt="2024-02-29T13:51:09.591" v="22" actId="1076"/>
          <ac:picMkLst>
            <pc:docMk/>
            <pc:sldMk cId="1976558460" sldId="2134806016"/>
            <ac:picMk id="7" creationId="{0EE2449D-8D68-43DA-0B9E-7D76D0B09633}"/>
          </ac:picMkLst>
        </pc:picChg>
        <pc:picChg chg="mod">
          <ac:chgData name="Angela Khanali Mutsotso" userId="f2187219-0cf6-4017-8dcd-5e0007a16163" providerId="ADAL" clId="{5337204F-6A06-4668-9EC2-59FBFA6B0D79}" dt="2024-02-29T13:50:50.283" v="17" actId="1076"/>
          <ac:picMkLst>
            <pc:docMk/>
            <pc:sldMk cId="1976558460" sldId="2134806016"/>
            <ac:picMk id="8" creationId="{D9D93061-B693-65A4-A4D5-4A8D8F8CD5C1}"/>
          </ac:picMkLst>
        </pc:picChg>
        <pc:picChg chg="mod">
          <ac:chgData name="Angela Khanali Mutsotso" userId="f2187219-0cf6-4017-8dcd-5e0007a16163" providerId="ADAL" clId="{5337204F-6A06-4668-9EC2-59FBFA6B0D79}" dt="2024-02-29T13:50:59.400" v="20" actId="1076"/>
          <ac:picMkLst>
            <pc:docMk/>
            <pc:sldMk cId="1976558460" sldId="2134806016"/>
            <ac:picMk id="11" creationId="{EFF7A945-76C0-06DE-5997-72846E2CC07D}"/>
          </ac:picMkLst>
        </pc:picChg>
        <pc:picChg chg="add mod">
          <ac:chgData name="Angela Khanali Mutsotso" userId="f2187219-0cf6-4017-8dcd-5e0007a16163" providerId="ADAL" clId="{5337204F-6A06-4668-9EC2-59FBFA6B0D79}" dt="2024-03-01T16:58:31.276" v="1286"/>
          <ac:picMkLst>
            <pc:docMk/>
            <pc:sldMk cId="1976558460" sldId="2134806016"/>
            <ac:picMk id="12" creationId="{88F91A66-EA8B-0950-1187-F6A801056B24}"/>
          </ac:picMkLst>
        </pc:picChg>
        <pc:picChg chg="add mod">
          <ac:chgData name="Angela Khanali Mutsotso" userId="f2187219-0cf6-4017-8dcd-5e0007a16163" providerId="ADAL" clId="{5337204F-6A06-4668-9EC2-59FBFA6B0D79}" dt="2024-03-01T16:58:31.276" v="1286"/>
          <ac:picMkLst>
            <pc:docMk/>
            <pc:sldMk cId="1976558460" sldId="2134806016"/>
            <ac:picMk id="17" creationId="{1C61775E-65BE-D493-CA9D-AB9860BEB138}"/>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2:49.877" v="3383"/>
              <pc2:cmMkLst xmlns:pc2="http://schemas.microsoft.com/office/powerpoint/2019/9/main/command">
                <pc:docMk/>
                <pc:sldMk cId="1976558460" sldId="2134806016"/>
                <pc2:cmMk id="{CBF99E73-336D-4799-84EE-8E851E12FD4A}"/>
              </pc2:cmMkLst>
            </pc226:cmChg>
          </p:ext>
        </pc:extLst>
      </pc:sldChg>
      <pc:sldChg chg="addSp delSp modSp mod ord modCm modNotesTx">
        <pc:chgData name="Angela Khanali Mutsotso" userId="f2187219-0cf6-4017-8dcd-5e0007a16163" providerId="ADAL" clId="{5337204F-6A06-4668-9EC2-59FBFA6B0D79}" dt="2024-03-15T14:47:23.032" v="4268" actId="2711"/>
        <pc:sldMkLst>
          <pc:docMk/>
          <pc:sldMk cId="2458954775" sldId="2134806018"/>
        </pc:sldMkLst>
        <pc:spChg chg="mod">
          <ac:chgData name="Angela Khanali Mutsotso" userId="f2187219-0cf6-4017-8dcd-5e0007a16163" providerId="ADAL" clId="{5337204F-6A06-4668-9EC2-59FBFA6B0D79}" dt="2024-03-15T14:47:23.032" v="4268" actId="2711"/>
          <ac:spMkLst>
            <pc:docMk/>
            <pc:sldMk cId="2458954775" sldId="2134806018"/>
            <ac:spMk id="2" creationId="{2998E5E9-6F13-0C4E-9E6A-10681B7E1984}"/>
          </ac:spMkLst>
        </pc:spChg>
        <pc:spChg chg="mod">
          <ac:chgData name="Angela Khanali Mutsotso" userId="f2187219-0cf6-4017-8dcd-5e0007a16163" providerId="ADAL" clId="{5337204F-6A06-4668-9EC2-59FBFA6B0D79}" dt="2024-03-15T14:47:23.032" v="4268" actId="2711"/>
          <ac:spMkLst>
            <pc:docMk/>
            <pc:sldMk cId="2458954775" sldId="2134806018"/>
            <ac:spMk id="6" creationId="{DA0B57F1-74AF-426F-ED09-D10283E94C76}"/>
          </ac:spMkLst>
        </pc:spChg>
        <pc:spChg chg="mod">
          <ac:chgData name="Angela Khanali Mutsotso" userId="f2187219-0cf6-4017-8dcd-5e0007a16163" providerId="ADAL" clId="{5337204F-6A06-4668-9EC2-59FBFA6B0D79}" dt="2024-03-15T14:47:23.032" v="4268" actId="2711"/>
          <ac:spMkLst>
            <pc:docMk/>
            <pc:sldMk cId="2458954775" sldId="2134806018"/>
            <ac:spMk id="9" creationId="{7E514A52-4527-364B-9B61-754151F36BC5}"/>
          </ac:spMkLst>
        </pc:spChg>
        <pc:graphicFrameChg chg="mod">
          <ac:chgData name="Angela Khanali Mutsotso" userId="f2187219-0cf6-4017-8dcd-5e0007a16163" providerId="ADAL" clId="{5337204F-6A06-4668-9EC2-59FBFA6B0D79}" dt="2024-03-15T14:47:23.032" v="4268" actId="2711"/>
          <ac:graphicFrameMkLst>
            <pc:docMk/>
            <pc:sldMk cId="2458954775" sldId="2134806018"/>
            <ac:graphicFrameMk id="5" creationId="{05B12918-B1E5-5BC9-BA61-AD7991E4EDFB}"/>
          </ac:graphicFrameMkLst>
        </pc:graphicFrameChg>
        <pc:picChg chg="del">
          <ac:chgData name="Angela Khanali Mutsotso" userId="f2187219-0cf6-4017-8dcd-5e0007a16163" providerId="ADAL" clId="{5337204F-6A06-4668-9EC2-59FBFA6B0D79}" dt="2024-03-01T16:58:16.157" v="1281" actId="478"/>
          <ac:picMkLst>
            <pc:docMk/>
            <pc:sldMk cId="2458954775" sldId="2134806018"/>
            <ac:picMk id="3" creationId="{372B5992-109B-819C-A3D8-3340F2132578}"/>
          </ac:picMkLst>
        </pc:picChg>
        <pc:picChg chg="add mod">
          <ac:chgData name="Angela Khanali Mutsotso" userId="f2187219-0cf6-4017-8dcd-5e0007a16163" providerId="ADAL" clId="{5337204F-6A06-4668-9EC2-59FBFA6B0D79}" dt="2024-03-01T16:58:19.750" v="1283" actId="14100"/>
          <ac:picMkLst>
            <pc:docMk/>
            <pc:sldMk cId="2458954775" sldId="2134806018"/>
            <ac:picMk id="7" creationId="{DAFDE2A2-1A43-21C0-EED2-6F944C66E469}"/>
          </ac:picMkLst>
        </pc:picChg>
        <pc:picChg chg="add mod">
          <ac:chgData name="Angela Khanali Mutsotso" userId="f2187219-0cf6-4017-8dcd-5e0007a16163" providerId="ADAL" clId="{5337204F-6A06-4668-9EC2-59FBFA6B0D79}" dt="2024-03-01T16:58:25.052" v="1284" actId="1076"/>
          <ac:picMkLst>
            <pc:docMk/>
            <pc:sldMk cId="2458954775" sldId="2134806018"/>
            <ac:picMk id="8" creationId="{06C29945-065C-728A-D2F6-F8633FEBFADF}"/>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3:16.232" v="3386"/>
              <pc2:cmMkLst xmlns:pc2="http://schemas.microsoft.com/office/powerpoint/2019/9/main/command">
                <pc:docMk/>
                <pc:sldMk cId="2458954775" sldId="2134806018"/>
                <pc2:cmMk id="{E5735145-DED4-4363-9FDD-02124E15F7FC}"/>
              </pc2:cmMkLst>
              <pc226:cmRplyChg chg="add">
                <pc226:chgData name="Angela Khanali Mutsotso" userId="f2187219-0cf6-4017-8dcd-5e0007a16163" providerId="ADAL" clId="{5337204F-6A06-4668-9EC2-59FBFA6B0D79}" dt="2024-03-15T10:26:46.974" v="1935"/>
                <pc2:cmRplyMkLst xmlns:pc2="http://schemas.microsoft.com/office/powerpoint/2019/9/main/command">
                  <pc:docMk/>
                  <pc:sldMk cId="2458954775" sldId="2134806018"/>
                  <pc2:cmMk id="{E5735145-DED4-4363-9FDD-02124E15F7FC}"/>
                  <pc2:cmRplyMk id="{48B8AD33-2DA0-4660-ADAC-4543129BE80E}"/>
                </pc2:cmRplyMkLst>
              </pc226:cmRplyChg>
            </pc226:cmChg>
            <pc226:cmChg xmlns:pc226="http://schemas.microsoft.com/office/powerpoint/2022/06/main/command" chg="mod">
              <pc226:chgData name="Angela Khanali Mutsotso" userId="f2187219-0cf6-4017-8dcd-5e0007a16163" providerId="ADAL" clId="{5337204F-6A06-4668-9EC2-59FBFA6B0D79}" dt="2024-03-15T12:13:46.855" v="3489"/>
              <pc2:cmMkLst xmlns:pc2="http://schemas.microsoft.com/office/powerpoint/2019/9/main/command">
                <pc:docMk/>
                <pc:sldMk cId="2458954775" sldId="2134806018"/>
                <pc2:cmMk id="{1A0AEE59-B402-42BB-9CAF-AEAD17A00D72}"/>
              </pc2:cmMkLst>
            </pc226:cmChg>
            <pc226:cmChg xmlns:pc226="http://schemas.microsoft.com/office/powerpoint/2022/06/main/command" chg="mod">
              <pc226:chgData name="Angela Khanali Mutsotso" userId="f2187219-0cf6-4017-8dcd-5e0007a16163" providerId="ADAL" clId="{5337204F-6A06-4668-9EC2-59FBFA6B0D79}" dt="2024-03-15T12:13:09.294" v="3385"/>
              <pc2:cmMkLst xmlns:pc2="http://schemas.microsoft.com/office/powerpoint/2019/9/main/command">
                <pc:docMk/>
                <pc:sldMk cId="2458954775" sldId="2134806018"/>
                <pc2:cmMk id="{426C3DAA-F2F3-4F00-A214-0DED46CE26C3}"/>
              </pc2:cmMkLst>
            </pc226:cmChg>
          </p:ext>
        </pc:extLst>
      </pc:sldChg>
      <pc:sldChg chg="addSp delSp modSp add mod setBg">
        <pc:chgData name="Angela Khanali Mutsotso" userId="f2187219-0cf6-4017-8dcd-5e0007a16163" providerId="ADAL" clId="{5337204F-6A06-4668-9EC2-59FBFA6B0D79}" dt="2024-03-15T14:46:31.750" v="4265" actId="2711"/>
        <pc:sldMkLst>
          <pc:docMk/>
          <pc:sldMk cId="1411868860" sldId="2134806019"/>
        </pc:sldMkLst>
        <pc:spChg chg="mod">
          <ac:chgData name="Angela Khanali Mutsotso" userId="f2187219-0cf6-4017-8dcd-5e0007a16163" providerId="ADAL" clId="{5337204F-6A06-4668-9EC2-59FBFA6B0D79}" dt="2024-03-15T14:46:31.750" v="4265" actId="2711"/>
          <ac:spMkLst>
            <pc:docMk/>
            <pc:sldMk cId="1411868860" sldId="2134806019"/>
            <ac:spMk id="2" creationId="{3263325C-8D52-F721-A313-E8D3A2926916}"/>
          </ac:spMkLst>
        </pc:spChg>
        <pc:spChg chg="mod">
          <ac:chgData name="Angela Khanali Mutsotso" userId="f2187219-0cf6-4017-8dcd-5e0007a16163" providerId="ADAL" clId="{5337204F-6A06-4668-9EC2-59FBFA6B0D79}" dt="2024-03-15T11:48:59.797" v="3201" actId="2711"/>
          <ac:spMkLst>
            <pc:docMk/>
            <pc:sldMk cId="1411868860" sldId="2134806019"/>
            <ac:spMk id="4" creationId="{E614ECFF-D44B-451B-FF0C-432D15F2788F}"/>
          </ac:spMkLst>
        </pc:spChg>
        <pc:spChg chg="add del mod">
          <ac:chgData name="Angela Khanali Mutsotso" userId="f2187219-0cf6-4017-8dcd-5e0007a16163" providerId="ADAL" clId="{5337204F-6A06-4668-9EC2-59FBFA6B0D79}" dt="2024-02-29T16:04:40.097" v="81" actId="478"/>
          <ac:spMkLst>
            <pc:docMk/>
            <pc:sldMk cId="1411868860" sldId="2134806019"/>
            <ac:spMk id="8" creationId="{A526856C-FF13-00CD-2B81-24421742F7A4}"/>
          </ac:spMkLst>
        </pc:spChg>
        <pc:grpChg chg="add del">
          <ac:chgData name="Angela Khanali Mutsotso" userId="f2187219-0cf6-4017-8dcd-5e0007a16163" providerId="ADAL" clId="{5337204F-6A06-4668-9EC2-59FBFA6B0D79}" dt="2024-02-29T18:45:22.249" v="193" actId="26606"/>
          <ac:grpSpMkLst>
            <pc:docMk/>
            <pc:sldMk cId="1411868860" sldId="2134806019"/>
            <ac:grpSpMk id="23" creationId="{32CC9F2B-E219-AF55-BBE8-372B5AC60059}"/>
          </ac:grpSpMkLst>
        </pc:grpChg>
        <pc:picChg chg="add mod">
          <ac:chgData name="Angela Khanali Mutsotso" userId="f2187219-0cf6-4017-8dcd-5e0007a16163" providerId="ADAL" clId="{5337204F-6A06-4668-9EC2-59FBFA6B0D79}" dt="2024-03-01T16:57:56.624" v="1280" actId="1076"/>
          <ac:picMkLst>
            <pc:docMk/>
            <pc:sldMk cId="1411868860" sldId="2134806019"/>
            <ac:picMk id="3" creationId="{A9A60A30-88D9-6725-8101-FD2D85CCEC41}"/>
          </ac:picMkLst>
        </pc:picChg>
        <pc:picChg chg="del">
          <ac:chgData name="Angela Khanali Mutsotso" userId="f2187219-0cf6-4017-8dcd-5e0007a16163" providerId="ADAL" clId="{5337204F-6A06-4668-9EC2-59FBFA6B0D79}" dt="2024-02-29T16:03:16.483" v="72" actId="478"/>
          <ac:picMkLst>
            <pc:docMk/>
            <pc:sldMk cId="1411868860" sldId="2134806019"/>
            <ac:picMk id="5" creationId="{2431D1F6-161C-FFA5-C495-DD206C86E7FC}"/>
          </ac:picMkLst>
        </pc:picChg>
        <pc:picChg chg="add mod">
          <ac:chgData name="Angela Khanali Mutsotso" userId="f2187219-0cf6-4017-8dcd-5e0007a16163" providerId="ADAL" clId="{5337204F-6A06-4668-9EC2-59FBFA6B0D79}" dt="2024-03-15T11:55:02.715" v="3246" actId="1076"/>
          <ac:picMkLst>
            <pc:docMk/>
            <pc:sldMk cId="1411868860" sldId="2134806019"/>
            <ac:picMk id="5" creationId="{58107C11-2A63-D554-0BB9-998E9E3BA53C}"/>
          </ac:picMkLst>
        </pc:picChg>
        <pc:picChg chg="add del mod">
          <ac:chgData name="Angela Khanali Mutsotso" userId="f2187219-0cf6-4017-8dcd-5e0007a16163" providerId="ADAL" clId="{5337204F-6A06-4668-9EC2-59FBFA6B0D79}" dt="2024-02-29T18:46:27.618" v="213" actId="478"/>
          <ac:picMkLst>
            <pc:docMk/>
            <pc:sldMk cId="1411868860" sldId="2134806019"/>
            <ac:picMk id="5" creationId="{74CD619C-15DF-FA35-1847-1EC12F0F11FB}"/>
          </ac:picMkLst>
        </pc:picChg>
        <pc:picChg chg="add del mod">
          <ac:chgData name="Angela Khanali Mutsotso" userId="f2187219-0cf6-4017-8dcd-5e0007a16163" providerId="ADAL" clId="{5337204F-6A06-4668-9EC2-59FBFA6B0D79}" dt="2024-03-15T11:53:31.331" v="3212" actId="478"/>
          <ac:picMkLst>
            <pc:docMk/>
            <pc:sldMk cId="1411868860" sldId="2134806019"/>
            <ac:picMk id="6" creationId="{35EA3BD2-DB42-B657-1AEC-92BE31090BB8}"/>
          </ac:picMkLst>
        </pc:picChg>
        <pc:picChg chg="del">
          <ac:chgData name="Angela Khanali Mutsotso" userId="f2187219-0cf6-4017-8dcd-5e0007a16163" providerId="ADAL" clId="{5337204F-6A06-4668-9EC2-59FBFA6B0D79}" dt="2024-02-29T16:03:23.134" v="75" actId="478"/>
          <ac:picMkLst>
            <pc:docMk/>
            <pc:sldMk cId="1411868860" sldId="2134806019"/>
            <ac:picMk id="6" creationId="{85AED23B-4FB3-CF76-2DDC-1D93902FF2F6}"/>
          </ac:picMkLst>
        </pc:picChg>
        <pc:picChg chg="del">
          <ac:chgData name="Angela Khanali Mutsotso" userId="f2187219-0cf6-4017-8dcd-5e0007a16163" providerId="ADAL" clId="{5337204F-6A06-4668-9EC2-59FBFA6B0D79}" dt="2024-02-29T16:03:24.113" v="76" actId="478"/>
          <ac:picMkLst>
            <pc:docMk/>
            <pc:sldMk cId="1411868860" sldId="2134806019"/>
            <ac:picMk id="7" creationId="{27311627-58EE-C088-DF0A-EF45BD5A1E64}"/>
          </ac:picMkLst>
        </pc:picChg>
        <pc:picChg chg="add mod">
          <ac:chgData name="Angela Khanali Mutsotso" userId="f2187219-0cf6-4017-8dcd-5e0007a16163" providerId="ADAL" clId="{5337204F-6A06-4668-9EC2-59FBFA6B0D79}" dt="2024-03-15T11:54:59.129" v="3245" actId="1076"/>
          <ac:picMkLst>
            <pc:docMk/>
            <pc:sldMk cId="1411868860" sldId="2134806019"/>
            <ac:picMk id="7" creationId="{DBBA8C95-78FC-2536-34C5-D3BE03AE95A2}"/>
          </ac:picMkLst>
        </pc:picChg>
        <pc:picChg chg="add mod">
          <ac:chgData name="Angela Khanali Mutsotso" userId="f2187219-0cf6-4017-8dcd-5e0007a16163" providerId="ADAL" clId="{5337204F-6A06-4668-9EC2-59FBFA6B0D79}" dt="2024-03-01T11:16:45.910" v="1260" actId="1440"/>
          <ac:picMkLst>
            <pc:docMk/>
            <pc:sldMk cId="1411868860" sldId="2134806019"/>
            <ac:picMk id="8" creationId="{F209F333-68F8-7B72-3F43-E6F16828CB36}"/>
          </ac:picMkLst>
        </pc:picChg>
        <pc:picChg chg="add mod">
          <ac:chgData name="Angela Khanali Mutsotso" userId="f2187219-0cf6-4017-8dcd-5e0007a16163" providerId="ADAL" clId="{5337204F-6A06-4668-9EC2-59FBFA6B0D79}" dt="2024-03-01T16:57:56.624" v="1280" actId="1076"/>
          <ac:picMkLst>
            <pc:docMk/>
            <pc:sldMk cId="1411868860" sldId="2134806019"/>
            <ac:picMk id="9" creationId="{5852DB58-F7F6-16EC-A6A3-018AA186D155}"/>
          </ac:picMkLst>
        </pc:picChg>
        <pc:picChg chg="add del mod">
          <ac:chgData name="Angela Khanali Mutsotso" userId="f2187219-0cf6-4017-8dcd-5e0007a16163" providerId="ADAL" clId="{5337204F-6A06-4668-9EC2-59FBFA6B0D79}" dt="2024-03-01T11:16:16.366" v="1254" actId="478"/>
          <ac:picMkLst>
            <pc:docMk/>
            <pc:sldMk cId="1411868860" sldId="2134806019"/>
            <ac:picMk id="9" creationId="{74CD619C-15DF-FA35-1847-1EC12F0F11FB}"/>
          </ac:picMkLst>
        </pc:picChg>
        <pc:picChg chg="del">
          <ac:chgData name="Angela Khanali Mutsotso" userId="f2187219-0cf6-4017-8dcd-5e0007a16163" providerId="ADAL" clId="{5337204F-6A06-4668-9EC2-59FBFA6B0D79}" dt="2024-02-29T16:03:29.872" v="77" actId="478"/>
          <ac:picMkLst>
            <pc:docMk/>
            <pc:sldMk cId="1411868860" sldId="2134806019"/>
            <ac:picMk id="9" creationId="{9287FA3E-5724-1EFF-BF71-C30FCC749C6A}"/>
          </ac:picMkLst>
        </pc:picChg>
        <pc:picChg chg="add mod">
          <ac:chgData name="Angela Khanali Mutsotso" userId="f2187219-0cf6-4017-8dcd-5e0007a16163" providerId="ADAL" clId="{5337204F-6A06-4668-9EC2-59FBFA6B0D79}" dt="2024-03-15T11:55:08.936" v="3247" actId="1076"/>
          <ac:picMkLst>
            <pc:docMk/>
            <pc:sldMk cId="1411868860" sldId="2134806019"/>
            <ac:picMk id="10" creationId="{B030DFF8-2071-67AB-B18C-CF8B5480C28D}"/>
          </ac:picMkLst>
        </pc:picChg>
        <pc:picChg chg="del">
          <ac:chgData name="Angela Khanali Mutsotso" userId="f2187219-0cf6-4017-8dcd-5e0007a16163" providerId="ADAL" clId="{5337204F-6A06-4668-9EC2-59FBFA6B0D79}" dt="2024-02-29T16:03:31.948" v="78" actId="478"/>
          <ac:picMkLst>
            <pc:docMk/>
            <pc:sldMk cId="1411868860" sldId="2134806019"/>
            <ac:picMk id="11" creationId="{B3248B7F-4A1C-9CF7-02D5-4F859B8B68AD}"/>
          </ac:picMkLst>
        </pc:picChg>
        <pc:picChg chg="add del mod">
          <ac:chgData name="Angela Khanali Mutsotso" userId="f2187219-0cf6-4017-8dcd-5e0007a16163" providerId="ADAL" clId="{5337204F-6A06-4668-9EC2-59FBFA6B0D79}" dt="2024-02-29T16:11:39.056" v="140" actId="478"/>
          <ac:picMkLst>
            <pc:docMk/>
            <pc:sldMk cId="1411868860" sldId="2134806019"/>
            <ac:picMk id="12" creationId="{8D162424-4838-D8D1-ABC2-C6B063C73753}"/>
          </ac:picMkLst>
        </pc:picChg>
        <pc:picChg chg="add del mod ord">
          <ac:chgData name="Angela Khanali Mutsotso" userId="f2187219-0cf6-4017-8dcd-5e0007a16163" providerId="ADAL" clId="{5337204F-6A06-4668-9EC2-59FBFA6B0D79}" dt="2024-02-29T18:46:13.720" v="209" actId="478"/>
          <ac:picMkLst>
            <pc:docMk/>
            <pc:sldMk cId="1411868860" sldId="2134806019"/>
            <ac:picMk id="14" creationId="{35EA3BD2-DB42-B657-1AEC-92BE31090BB8}"/>
          </ac:picMkLst>
        </pc:picChg>
        <pc:picChg chg="add del mod">
          <ac:chgData name="Angela Khanali Mutsotso" userId="f2187219-0cf6-4017-8dcd-5e0007a16163" providerId="ADAL" clId="{5337204F-6A06-4668-9EC2-59FBFA6B0D79}" dt="2024-02-29T18:46:00.646" v="204" actId="478"/>
          <ac:picMkLst>
            <pc:docMk/>
            <pc:sldMk cId="1411868860" sldId="2134806019"/>
            <ac:picMk id="16" creationId="{DBBA8C95-78FC-2536-34C5-D3BE03AE95A2}"/>
          </ac:picMkLst>
        </pc:picChg>
        <pc:picChg chg="add del mod">
          <ac:chgData name="Angela Khanali Mutsotso" userId="f2187219-0cf6-4017-8dcd-5e0007a16163" providerId="ADAL" clId="{5337204F-6A06-4668-9EC2-59FBFA6B0D79}" dt="2024-02-29T18:46:29.322" v="214" actId="478"/>
          <ac:picMkLst>
            <pc:docMk/>
            <pc:sldMk cId="1411868860" sldId="2134806019"/>
            <ac:picMk id="18" creationId="{F209F333-68F8-7B72-3F43-E6F16828CB36}"/>
          </ac:picMkLst>
        </pc:picChg>
      </pc:sldChg>
      <pc:sldChg chg="addSp delSp modSp add mod modCm">
        <pc:chgData name="Angela Khanali Mutsotso" userId="f2187219-0cf6-4017-8dcd-5e0007a16163" providerId="ADAL" clId="{5337204F-6A06-4668-9EC2-59FBFA6B0D79}" dt="2024-03-15T14:48:42.067" v="4273" actId="2711"/>
        <pc:sldMkLst>
          <pc:docMk/>
          <pc:sldMk cId="70204666" sldId="2134806020"/>
        </pc:sldMkLst>
        <pc:spChg chg="mod">
          <ac:chgData name="Angela Khanali Mutsotso" userId="f2187219-0cf6-4017-8dcd-5e0007a16163" providerId="ADAL" clId="{5337204F-6A06-4668-9EC2-59FBFA6B0D79}" dt="2024-03-15T14:48:42.067" v="4273" actId="2711"/>
          <ac:spMkLst>
            <pc:docMk/>
            <pc:sldMk cId="70204666" sldId="2134806020"/>
            <ac:spMk id="2" creationId="{6488B893-44C9-9035-3F08-FCF563521CDA}"/>
          </ac:spMkLst>
        </pc:spChg>
        <pc:spChg chg="add mod">
          <ac:chgData name="Angela Khanali Mutsotso" userId="f2187219-0cf6-4017-8dcd-5e0007a16163" providerId="ADAL" clId="{5337204F-6A06-4668-9EC2-59FBFA6B0D79}" dt="2024-03-15T14:48:42.067" v="4273" actId="2711"/>
          <ac:spMkLst>
            <pc:docMk/>
            <pc:sldMk cId="70204666" sldId="2134806020"/>
            <ac:spMk id="3" creationId="{3D16E767-6142-535A-33B3-60DE5C969874}"/>
          </ac:spMkLst>
        </pc:spChg>
        <pc:spChg chg="del mod">
          <ac:chgData name="Angela Khanali Mutsotso" userId="f2187219-0cf6-4017-8dcd-5e0007a16163" providerId="ADAL" clId="{5337204F-6A06-4668-9EC2-59FBFA6B0D79}" dt="2024-03-06T10:51:46.382" v="1706" actId="478"/>
          <ac:spMkLst>
            <pc:docMk/>
            <pc:sldMk cId="70204666" sldId="2134806020"/>
            <ac:spMk id="8" creationId="{46248936-C7E6-48DD-91DA-EAD275F750CE}"/>
          </ac:spMkLst>
        </pc:spChg>
        <pc:picChg chg="mod">
          <ac:chgData name="Angela Khanali Mutsotso" userId="f2187219-0cf6-4017-8dcd-5e0007a16163" providerId="ADAL" clId="{5337204F-6A06-4668-9EC2-59FBFA6B0D79}" dt="2024-03-06T10:51:57.021" v="1709" actId="1076"/>
          <ac:picMkLst>
            <pc:docMk/>
            <pc:sldMk cId="70204666" sldId="2134806020"/>
            <ac:picMk id="9" creationId="{1E229B44-F826-4C5A-8309-7F38E06E3F37}"/>
          </ac:picMkLst>
        </pc:picChg>
        <pc:picChg chg="mod">
          <ac:chgData name="Angela Khanali Mutsotso" userId="f2187219-0cf6-4017-8dcd-5e0007a16163" providerId="ADAL" clId="{5337204F-6A06-4668-9EC2-59FBFA6B0D79}" dt="2024-03-06T10:52:12.432" v="1714" actId="1076"/>
          <ac:picMkLst>
            <pc:docMk/>
            <pc:sldMk cId="70204666" sldId="2134806020"/>
            <ac:picMk id="12" creationId="{730E23D5-AB79-4C0F-B0A2-B89FE030F214}"/>
          </ac:picMkLst>
        </pc:picChg>
        <pc:picChg chg="mod">
          <ac:chgData name="Angela Khanali Mutsotso" userId="f2187219-0cf6-4017-8dcd-5e0007a16163" providerId="ADAL" clId="{5337204F-6A06-4668-9EC2-59FBFA6B0D79}" dt="2024-03-06T10:52:10.482" v="1713" actId="1076"/>
          <ac:picMkLst>
            <pc:docMk/>
            <pc:sldMk cId="70204666" sldId="2134806020"/>
            <ac:picMk id="16" creationId="{9C2B0153-DD0F-450C-B694-98E9165D606D}"/>
          </ac:picMkLst>
        </pc:picChg>
        <pc:picChg chg="mod">
          <ac:chgData name="Angela Khanali Mutsotso" userId="f2187219-0cf6-4017-8dcd-5e0007a16163" providerId="ADAL" clId="{5337204F-6A06-4668-9EC2-59FBFA6B0D79}" dt="2024-03-01T11:08:14.540" v="1213" actId="1076"/>
          <ac:picMkLst>
            <pc:docMk/>
            <pc:sldMk cId="70204666" sldId="2134806020"/>
            <ac:picMk id="101378" creationId="{0E9DD925-ED13-4C6D-BAA0-E9908C7BF537}"/>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2:05.783" v="3381"/>
              <pc2:cmMkLst xmlns:pc2="http://schemas.microsoft.com/office/powerpoint/2019/9/main/command">
                <pc:docMk/>
                <pc:sldMk cId="70204666" sldId="2134806020"/>
                <pc2:cmMk id="{B4B11A94-BD81-4ABD-8D48-93979DCFAB5D}"/>
              </pc2:cmMkLst>
              <pc226:cmRplyChg chg="add mod">
                <pc226:chgData name="Angela Khanali Mutsotso" userId="f2187219-0cf6-4017-8dcd-5e0007a16163" providerId="ADAL" clId="{5337204F-6A06-4668-9EC2-59FBFA6B0D79}" dt="2024-03-06T10:52:37.668" v="1716"/>
                <pc2:cmRplyMkLst xmlns:pc2="http://schemas.microsoft.com/office/powerpoint/2019/9/main/command">
                  <pc:docMk/>
                  <pc:sldMk cId="70204666" sldId="2134806020"/>
                  <pc2:cmMk id="{B4B11A94-BD81-4ABD-8D48-93979DCFAB5D}"/>
                  <pc2:cmRplyMk id="{854E1ACF-DD10-4677-99AF-A765A18E3F1E}"/>
                </pc2:cmRplyMkLst>
              </pc226:cmRplyChg>
            </pc226:cmChg>
          </p:ext>
        </pc:extLst>
      </pc:sldChg>
      <pc:sldChg chg="addSp delSp modSp add del mod setBg">
        <pc:chgData name="Angela Khanali Mutsotso" userId="f2187219-0cf6-4017-8dcd-5e0007a16163" providerId="ADAL" clId="{5337204F-6A06-4668-9EC2-59FBFA6B0D79}" dt="2024-02-29T18:48:11.860" v="285" actId="47"/>
        <pc:sldMkLst>
          <pc:docMk/>
          <pc:sldMk cId="2580380504" sldId="2134806020"/>
        </pc:sldMkLst>
        <pc:spChg chg="mod ord">
          <ac:chgData name="Angela Khanali Mutsotso" userId="f2187219-0cf6-4017-8dcd-5e0007a16163" providerId="ADAL" clId="{5337204F-6A06-4668-9EC2-59FBFA6B0D79}" dt="2024-02-29T18:45:47.959" v="201" actId="26606"/>
          <ac:spMkLst>
            <pc:docMk/>
            <pc:sldMk cId="2580380504" sldId="2134806020"/>
            <ac:spMk id="2" creationId="{3263325C-8D52-F721-A313-E8D3A2926916}"/>
          </ac:spMkLst>
        </pc:spChg>
        <pc:spChg chg="mod ord">
          <ac:chgData name="Angela Khanali Mutsotso" userId="f2187219-0cf6-4017-8dcd-5e0007a16163" providerId="ADAL" clId="{5337204F-6A06-4668-9EC2-59FBFA6B0D79}" dt="2024-02-29T18:45:47.959" v="201" actId="26606"/>
          <ac:spMkLst>
            <pc:docMk/>
            <pc:sldMk cId="2580380504" sldId="2134806020"/>
            <ac:spMk id="4" creationId="{E614ECFF-D44B-451B-FF0C-432D15F2788F}"/>
          </ac:spMkLst>
        </pc:spChg>
        <pc:spChg chg="add del">
          <ac:chgData name="Angela Khanali Mutsotso" userId="f2187219-0cf6-4017-8dcd-5e0007a16163" providerId="ADAL" clId="{5337204F-6A06-4668-9EC2-59FBFA6B0D79}" dt="2024-02-29T18:45:41.460" v="196" actId="26606"/>
          <ac:spMkLst>
            <pc:docMk/>
            <pc:sldMk cId="2580380504" sldId="2134806020"/>
            <ac:spMk id="23" creationId="{93062723-6941-4ABE-8146-AC6FA530BA4C}"/>
          </ac:spMkLst>
        </pc:spChg>
        <pc:spChg chg="add del">
          <ac:chgData name="Angela Khanali Mutsotso" userId="f2187219-0cf6-4017-8dcd-5e0007a16163" providerId="ADAL" clId="{5337204F-6A06-4668-9EC2-59FBFA6B0D79}" dt="2024-02-29T18:45:41.460" v="196" actId="26606"/>
          <ac:spMkLst>
            <pc:docMk/>
            <pc:sldMk cId="2580380504" sldId="2134806020"/>
            <ac:spMk id="25" creationId="{917859B3-4C91-478D-929D-BB6433F90849}"/>
          </ac:spMkLst>
        </pc:spChg>
        <pc:spChg chg="add del">
          <ac:chgData name="Angela Khanali Mutsotso" userId="f2187219-0cf6-4017-8dcd-5e0007a16163" providerId="ADAL" clId="{5337204F-6A06-4668-9EC2-59FBFA6B0D79}" dt="2024-02-29T18:45:41.460" v="196" actId="26606"/>
          <ac:spMkLst>
            <pc:docMk/>
            <pc:sldMk cId="2580380504" sldId="2134806020"/>
            <ac:spMk id="27" creationId="{6283FBD2-A663-469F-855C-06D86E3C1161}"/>
          </ac:spMkLst>
        </pc:spChg>
        <pc:spChg chg="add del">
          <ac:chgData name="Angela Khanali Mutsotso" userId="f2187219-0cf6-4017-8dcd-5e0007a16163" providerId="ADAL" clId="{5337204F-6A06-4668-9EC2-59FBFA6B0D79}" dt="2024-02-29T18:45:41.460" v="196" actId="26606"/>
          <ac:spMkLst>
            <pc:docMk/>
            <pc:sldMk cId="2580380504" sldId="2134806020"/>
            <ac:spMk id="29" creationId="{8A1279FC-7441-4E55-B082-2774E6316482}"/>
          </ac:spMkLst>
        </pc:spChg>
        <pc:spChg chg="add del">
          <ac:chgData name="Angela Khanali Mutsotso" userId="f2187219-0cf6-4017-8dcd-5e0007a16163" providerId="ADAL" clId="{5337204F-6A06-4668-9EC2-59FBFA6B0D79}" dt="2024-02-29T18:45:42.771" v="198" actId="26606"/>
          <ac:spMkLst>
            <pc:docMk/>
            <pc:sldMk cId="2580380504" sldId="2134806020"/>
            <ac:spMk id="31" creationId="{2409529B-9B56-4F10-BE4D-F934DB89E57E}"/>
          </ac:spMkLst>
        </pc:spChg>
        <pc:spChg chg="add del">
          <ac:chgData name="Angela Khanali Mutsotso" userId="f2187219-0cf6-4017-8dcd-5e0007a16163" providerId="ADAL" clId="{5337204F-6A06-4668-9EC2-59FBFA6B0D79}" dt="2024-02-29T18:45:42.771" v="198" actId="26606"/>
          <ac:spMkLst>
            <pc:docMk/>
            <pc:sldMk cId="2580380504" sldId="2134806020"/>
            <ac:spMk id="32" creationId="{A3C210E6-A35A-4F68-8D60-801A019C75B8}"/>
          </ac:spMkLst>
        </pc:spChg>
        <pc:spChg chg="add del">
          <ac:chgData name="Angela Khanali Mutsotso" userId="f2187219-0cf6-4017-8dcd-5e0007a16163" providerId="ADAL" clId="{5337204F-6A06-4668-9EC2-59FBFA6B0D79}" dt="2024-02-29T18:45:42.771" v="198" actId="26606"/>
          <ac:spMkLst>
            <pc:docMk/>
            <pc:sldMk cId="2580380504" sldId="2134806020"/>
            <ac:spMk id="33" creationId="{AC0D06B0-F19C-459E-B221-A34B506FB5E3}"/>
          </ac:spMkLst>
        </pc:spChg>
        <pc:spChg chg="add del">
          <ac:chgData name="Angela Khanali Mutsotso" userId="f2187219-0cf6-4017-8dcd-5e0007a16163" providerId="ADAL" clId="{5337204F-6A06-4668-9EC2-59FBFA6B0D79}" dt="2024-02-29T18:45:42.771" v="198" actId="26606"/>
          <ac:spMkLst>
            <pc:docMk/>
            <pc:sldMk cId="2580380504" sldId="2134806020"/>
            <ac:spMk id="34" creationId="{345B26DA-1C6B-4C66-81C9-9C1877FC2DB1}"/>
          </ac:spMkLst>
        </pc:spChg>
        <pc:spChg chg="add del">
          <ac:chgData name="Angela Khanali Mutsotso" userId="f2187219-0cf6-4017-8dcd-5e0007a16163" providerId="ADAL" clId="{5337204F-6A06-4668-9EC2-59FBFA6B0D79}" dt="2024-02-29T18:45:42.771" v="198" actId="26606"/>
          <ac:spMkLst>
            <pc:docMk/>
            <pc:sldMk cId="2580380504" sldId="2134806020"/>
            <ac:spMk id="35" creationId="{98DE6C44-43F8-4DE4-AB81-66853FFEA09A}"/>
          </ac:spMkLst>
        </pc:spChg>
        <pc:spChg chg="add del">
          <ac:chgData name="Angela Khanali Mutsotso" userId="f2187219-0cf6-4017-8dcd-5e0007a16163" providerId="ADAL" clId="{5337204F-6A06-4668-9EC2-59FBFA6B0D79}" dt="2024-02-29T18:45:47.926" v="200" actId="26606"/>
          <ac:spMkLst>
            <pc:docMk/>
            <pc:sldMk cId="2580380504" sldId="2134806020"/>
            <ac:spMk id="37" creationId="{3D7E4C9F-7EC2-4C52-9146-0E1435CC2D7C}"/>
          </ac:spMkLst>
        </pc:spChg>
        <pc:spChg chg="add del">
          <ac:chgData name="Angela Khanali Mutsotso" userId="f2187219-0cf6-4017-8dcd-5e0007a16163" providerId="ADAL" clId="{5337204F-6A06-4668-9EC2-59FBFA6B0D79}" dt="2024-02-29T18:45:47.926" v="200" actId="26606"/>
          <ac:spMkLst>
            <pc:docMk/>
            <pc:sldMk cId="2580380504" sldId="2134806020"/>
            <ac:spMk id="38" creationId="{E677BBB0-8A66-4619-B31B-5097655C5FF2}"/>
          </ac:spMkLst>
        </pc:spChg>
        <pc:spChg chg="add del">
          <ac:chgData name="Angela Khanali Mutsotso" userId="f2187219-0cf6-4017-8dcd-5e0007a16163" providerId="ADAL" clId="{5337204F-6A06-4668-9EC2-59FBFA6B0D79}" dt="2024-02-29T18:45:47.926" v="200" actId="26606"/>
          <ac:spMkLst>
            <pc:docMk/>
            <pc:sldMk cId="2580380504" sldId="2134806020"/>
            <ac:spMk id="39" creationId="{FB56C437-7CF8-4D2B-8C62-6F9CEA5611FA}"/>
          </ac:spMkLst>
        </pc:spChg>
        <pc:spChg chg="add del">
          <ac:chgData name="Angela Khanali Mutsotso" userId="f2187219-0cf6-4017-8dcd-5e0007a16163" providerId="ADAL" clId="{5337204F-6A06-4668-9EC2-59FBFA6B0D79}" dt="2024-02-29T18:45:47.926" v="200" actId="26606"/>
          <ac:spMkLst>
            <pc:docMk/>
            <pc:sldMk cId="2580380504" sldId="2134806020"/>
            <ac:spMk id="40" creationId="{288F414E-1A16-495F-8EF5-F55A4207EE48}"/>
          </ac:spMkLst>
        </pc:spChg>
        <pc:spChg chg="add">
          <ac:chgData name="Angela Khanali Mutsotso" userId="f2187219-0cf6-4017-8dcd-5e0007a16163" providerId="ADAL" clId="{5337204F-6A06-4668-9EC2-59FBFA6B0D79}" dt="2024-02-29T18:45:47.959" v="201" actId="26606"/>
          <ac:spMkLst>
            <pc:docMk/>
            <pc:sldMk cId="2580380504" sldId="2134806020"/>
            <ac:spMk id="42" creationId="{5F255613-AAE8-4321-9EBA-89253DD45042}"/>
          </ac:spMkLst>
        </pc:spChg>
        <pc:spChg chg="add">
          <ac:chgData name="Angela Khanali Mutsotso" userId="f2187219-0cf6-4017-8dcd-5e0007a16163" providerId="ADAL" clId="{5337204F-6A06-4668-9EC2-59FBFA6B0D79}" dt="2024-02-29T18:45:47.959" v="201" actId="26606"/>
          <ac:spMkLst>
            <pc:docMk/>
            <pc:sldMk cId="2580380504" sldId="2134806020"/>
            <ac:spMk id="43" creationId="{5A3987B4-5CBA-4CB7-862B-56A9917A2D35}"/>
          </ac:spMkLst>
        </pc:spChg>
        <pc:spChg chg="add">
          <ac:chgData name="Angela Khanali Mutsotso" userId="f2187219-0cf6-4017-8dcd-5e0007a16163" providerId="ADAL" clId="{5337204F-6A06-4668-9EC2-59FBFA6B0D79}" dt="2024-02-29T18:45:47.959" v="201" actId="26606"/>
          <ac:spMkLst>
            <pc:docMk/>
            <pc:sldMk cId="2580380504" sldId="2134806020"/>
            <ac:spMk id="44" creationId="{CB147A70-DC29-4DDF-A34C-2B82C6E2295E}"/>
          </ac:spMkLst>
        </pc:spChg>
        <pc:spChg chg="add">
          <ac:chgData name="Angela Khanali Mutsotso" userId="f2187219-0cf6-4017-8dcd-5e0007a16163" providerId="ADAL" clId="{5337204F-6A06-4668-9EC2-59FBFA6B0D79}" dt="2024-02-29T18:45:47.959" v="201" actId="26606"/>
          <ac:spMkLst>
            <pc:docMk/>
            <pc:sldMk cId="2580380504" sldId="2134806020"/>
            <ac:spMk id="45" creationId="{D1B80E9C-CF8A-440B-B8F5-54BF121BF458}"/>
          </ac:spMkLst>
        </pc:spChg>
        <pc:spChg chg="add">
          <ac:chgData name="Angela Khanali Mutsotso" userId="f2187219-0cf6-4017-8dcd-5e0007a16163" providerId="ADAL" clId="{5337204F-6A06-4668-9EC2-59FBFA6B0D79}" dt="2024-02-29T18:45:47.959" v="201" actId="26606"/>
          <ac:spMkLst>
            <pc:docMk/>
            <pc:sldMk cId="2580380504" sldId="2134806020"/>
            <ac:spMk id="46" creationId="{F1FF25AD-D64E-45A0-B2D0-F4A6AB092614}"/>
          </ac:spMkLst>
        </pc:spChg>
        <pc:picChg chg="del mod ord">
          <ac:chgData name="Angela Khanali Mutsotso" userId="f2187219-0cf6-4017-8dcd-5e0007a16163" providerId="ADAL" clId="{5337204F-6A06-4668-9EC2-59FBFA6B0D79}" dt="2024-02-29T18:46:23.706" v="212" actId="21"/>
          <ac:picMkLst>
            <pc:docMk/>
            <pc:sldMk cId="2580380504" sldId="2134806020"/>
            <ac:picMk id="5" creationId="{74CD619C-15DF-FA35-1847-1EC12F0F11FB}"/>
          </ac:picMkLst>
        </pc:picChg>
        <pc:picChg chg="del mod ord">
          <ac:chgData name="Angela Khanali Mutsotso" userId="f2187219-0cf6-4017-8dcd-5e0007a16163" providerId="ADAL" clId="{5337204F-6A06-4668-9EC2-59FBFA6B0D79}" dt="2024-02-29T18:45:56.133" v="202" actId="21"/>
          <ac:picMkLst>
            <pc:docMk/>
            <pc:sldMk cId="2580380504" sldId="2134806020"/>
            <ac:picMk id="14" creationId="{35EA3BD2-DB42-B657-1AEC-92BE31090BB8}"/>
          </ac:picMkLst>
        </pc:picChg>
        <pc:picChg chg="del mod">
          <ac:chgData name="Angela Khanali Mutsotso" userId="f2187219-0cf6-4017-8dcd-5e0007a16163" providerId="ADAL" clId="{5337204F-6A06-4668-9EC2-59FBFA6B0D79}" dt="2024-02-29T18:46:09.722" v="208" actId="21"/>
          <ac:picMkLst>
            <pc:docMk/>
            <pc:sldMk cId="2580380504" sldId="2134806020"/>
            <ac:picMk id="16" creationId="{DBBA8C95-78FC-2536-34C5-D3BE03AE95A2}"/>
          </ac:picMkLst>
        </pc:picChg>
        <pc:picChg chg="del mod ord">
          <ac:chgData name="Angela Khanali Mutsotso" userId="f2187219-0cf6-4017-8dcd-5e0007a16163" providerId="ADAL" clId="{5337204F-6A06-4668-9EC2-59FBFA6B0D79}" dt="2024-02-29T18:46:23.706" v="212" actId="21"/>
          <ac:picMkLst>
            <pc:docMk/>
            <pc:sldMk cId="2580380504" sldId="2134806020"/>
            <ac:picMk id="18" creationId="{F209F333-68F8-7B72-3F43-E6F16828CB36}"/>
          </ac:picMkLst>
        </pc:picChg>
      </pc:sldChg>
      <pc:sldChg chg="addSp delSp modSp add del mod ord modShow modCm modNotesTx">
        <pc:chgData name="Angela Khanali Mutsotso" userId="f2187219-0cf6-4017-8dcd-5e0007a16163" providerId="ADAL" clId="{5337204F-6A06-4668-9EC2-59FBFA6B0D79}" dt="2024-03-15T14:45:06.660" v="4259" actId="2711"/>
        <pc:sldMkLst>
          <pc:docMk/>
          <pc:sldMk cId="688345081" sldId="2134806021"/>
        </pc:sldMkLst>
        <pc:spChg chg="add mod">
          <ac:chgData name="Angela Khanali Mutsotso" userId="f2187219-0cf6-4017-8dcd-5e0007a16163" providerId="ADAL" clId="{5337204F-6A06-4668-9EC2-59FBFA6B0D79}" dt="2024-03-15T14:45:06.660" v="4259" actId="2711"/>
          <ac:spMkLst>
            <pc:docMk/>
            <pc:sldMk cId="688345081" sldId="2134806021"/>
            <ac:spMk id="2" creationId="{50E763B8-8925-DAB7-B5CC-A653464B5DBC}"/>
          </ac:spMkLst>
        </pc:spChg>
        <pc:spChg chg="add mod">
          <ac:chgData name="Angela Khanali Mutsotso" userId="f2187219-0cf6-4017-8dcd-5e0007a16163" providerId="ADAL" clId="{5337204F-6A06-4668-9EC2-59FBFA6B0D79}" dt="2024-03-15T14:45:06.660" v="4259" actId="2711"/>
          <ac:spMkLst>
            <pc:docMk/>
            <pc:sldMk cId="688345081" sldId="2134806021"/>
            <ac:spMk id="4" creationId="{58B4E98E-6C8F-02B3-F731-740C1D2680EB}"/>
          </ac:spMkLst>
        </pc:spChg>
        <pc:spChg chg="mod">
          <ac:chgData name="Angela Khanali Mutsotso" userId="f2187219-0cf6-4017-8dcd-5e0007a16163" providerId="ADAL" clId="{5337204F-6A06-4668-9EC2-59FBFA6B0D79}" dt="2024-03-15T14:45:06.660" v="4259" actId="2711"/>
          <ac:spMkLst>
            <pc:docMk/>
            <pc:sldMk cId="688345081" sldId="2134806021"/>
            <ac:spMk id="5" creationId="{EC1EC11E-3EB8-323A-5F58-4234924E9197}"/>
          </ac:spMkLst>
        </pc:spChg>
        <pc:spChg chg="add del mod">
          <ac:chgData name="Angela Khanali Mutsotso" userId="f2187219-0cf6-4017-8dcd-5e0007a16163" providerId="ADAL" clId="{5337204F-6A06-4668-9EC2-59FBFA6B0D79}" dt="2024-03-15T10:39:17.359" v="1953" actId="478"/>
          <ac:spMkLst>
            <pc:docMk/>
            <pc:sldMk cId="688345081" sldId="2134806021"/>
            <ac:spMk id="6" creationId="{5929F01B-3E64-64E2-4398-041514063AF1}"/>
          </ac:spMkLst>
        </pc:spChg>
        <pc:spChg chg="add del mod">
          <ac:chgData name="Angela Khanali Mutsotso" userId="f2187219-0cf6-4017-8dcd-5e0007a16163" providerId="ADAL" clId="{5337204F-6A06-4668-9EC2-59FBFA6B0D79}" dt="2024-03-15T11:30:35.523" v="3185" actId="478"/>
          <ac:spMkLst>
            <pc:docMk/>
            <pc:sldMk cId="688345081" sldId="2134806021"/>
            <ac:spMk id="7" creationId="{697D6D8D-4AE1-ED46-4CFC-1BC988374C3F}"/>
          </ac:spMkLst>
        </pc:spChg>
        <pc:spChg chg="add del mod">
          <ac:chgData name="Angela Khanali Mutsotso" userId="f2187219-0cf6-4017-8dcd-5e0007a16163" providerId="ADAL" clId="{5337204F-6A06-4668-9EC2-59FBFA6B0D79}" dt="2024-03-15T11:30:35.523" v="3185" actId="478"/>
          <ac:spMkLst>
            <pc:docMk/>
            <pc:sldMk cId="688345081" sldId="2134806021"/>
            <ac:spMk id="9" creationId="{DEC437B3-BA6B-F759-BBC0-720AFC12E86A}"/>
          </ac:spMkLst>
        </pc:spChg>
        <pc:spChg chg="add del mod">
          <ac:chgData name="Angela Khanali Mutsotso" userId="f2187219-0cf6-4017-8dcd-5e0007a16163" providerId="ADAL" clId="{5337204F-6A06-4668-9EC2-59FBFA6B0D79}" dt="2024-03-15T11:30:49.683" v="3186" actId="478"/>
          <ac:spMkLst>
            <pc:docMk/>
            <pc:sldMk cId="688345081" sldId="2134806021"/>
            <ac:spMk id="11" creationId="{9584BD88-991B-DF1C-758C-12645FBE94A2}"/>
          </ac:spMkLst>
        </pc:spChg>
        <pc:spChg chg="del">
          <ac:chgData name="Angela Khanali Mutsotso" userId="f2187219-0cf6-4017-8dcd-5e0007a16163" providerId="ADAL" clId="{5337204F-6A06-4668-9EC2-59FBFA6B0D79}" dt="2024-03-01T16:59:27.368" v="1293" actId="478"/>
          <ac:spMkLst>
            <pc:docMk/>
            <pc:sldMk cId="688345081" sldId="2134806021"/>
            <ac:spMk id="12" creationId="{E4F77B20-5B88-19BA-4DC7-EF9D0B63A4C4}"/>
          </ac:spMkLst>
        </pc:spChg>
        <pc:spChg chg="del">
          <ac:chgData name="Angela Khanali Mutsotso" userId="f2187219-0cf6-4017-8dcd-5e0007a16163" providerId="ADAL" clId="{5337204F-6A06-4668-9EC2-59FBFA6B0D79}" dt="2024-03-01T16:59:27.368" v="1293" actId="478"/>
          <ac:spMkLst>
            <pc:docMk/>
            <pc:sldMk cId="688345081" sldId="2134806021"/>
            <ac:spMk id="13" creationId="{5EC1D445-398F-36CE-1DA8-051D263A210B}"/>
          </ac:spMkLst>
        </pc:spChg>
        <pc:spChg chg="del">
          <ac:chgData name="Angela Khanali Mutsotso" userId="f2187219-0cf6-4017-8dcd-5e0007a16163" providerId="ADAL" clId="{5337204F-6A06-4668-9EC2-59FBFA6B0D79}" dt="2024-03-01T16:59:00.358" v="1292" actId="478"/>
          <ac:spMkLst>
            <pc:docMk/>
            <pc:sldMk cId="688345081" sldId="2134806021"/>
            <ac:spMk id="16" creationId="{B5B31196-49F9-0C49-D969-06220560E203}"/>
          </ac:spMkLst>
        </pc:spChg>
        <pc:spChg chg="del">
          <ac:chgData name="Angela Khanali Mutsotso" userId="f2187219-0cf6-4017-8dcd-5e0007a16163" providerId="ADAL" clId="{5337204F-6A06-4668-9EC2-59FBFA6B0D79}" dt="2024-03-01T16:59:27.368" v="1293" actId="478"/>
          <ac:spMkLst>
            <pc:docMk/>
            <pc:sldMk cId="688345081" sldId="2134806021"/>
            <ac:spMk id="20" creationId="{F5AA4ED2-5073-0E9A-4906-50157AA692B4}"/>
          </ac:spMkLst>
        </pc:spChg>
        <pc:spChg chg="del">
          <ac:chgData name="Angela Khanali Mutsotso" userId="f2187219-0cf6-4017-8dcd-5e0007a16163" providerId="ADAL" clId="{5337204F-6A06-4668-9EC2-59FBFA6B0D79}" dt="2024-03-01T16:59:33.722" v="1296" actId="478"/>
          <ac:spMkLst>
            <pc:docMk/>
            <pc:sldMk cId="688345081" sldId="2134806021"/>
            <ac:spMk id="21" creationId="{E0EEC4C8-70CB-7A05-CAD6-B176E2418B4D}"/>
          </ac:spMkLst>
        </pc:spChg>
        <pc:spChg chg="del">
          <ac:chgData name="Angela Khanali Mutsotso" userId="f2187219-0cf6-4017-8dcd-5e0007a16163" providerId="ADAL" clId="{5337204F-6A06-4668-9EC2-59FBFA6B0D79}" dt="2024-03-01T16:59:27.368" v="1293" actId="478"/>
          <ac:spMkLst>
            <pc:docMk/>
            <pc:sldMk cId="688345081" sldId="2134806021"/>
            <ac:spMk id="22" creationId="{AB5EFDEC-1E4B-DDC7-4C15-91F27482F2D1}"/>
          </ac:spMkLst>
        </pc:spChg>
        <pc:spChg chg="del">
          <ac:chgData name="Angela Khanali Mutsotso" userId="f2187219-0cf6-4017-8dcd-5e0007a16163" providerId="ADAL" clId="{5337204F-6A06-4668-9EC2-59FBFA6B0D79}" dt="2024-03-01T16:59:27.368" v="1293" actId="478"/>
          <ac:spMkLst>
            <pc:docMk/>
            <pc:sldMk cId="688345081" sldId="2134806021"/>
            <ac:spMk id="23" creationId="{BCF9D76C-6DE7-B9CA-F333-739EC9B1CE72}"/>
          </ac:spMkLst>
        </pc:spChg>
        <pc:spChg chg="del">
          <ac:chgData name="Angela Khanali Mutsotso" userId="f2187219-0cf6-4017-8dcd-5e0007a16163" providerId="ADAL" clId="{5337204F-6A06-4668-9EC2-59FBFA6B0D79}" dt="2024-03-01T16:59:27.368" v="1293" actId="478"/>
          <ac:spMkLst>
            <pc:docMk/>
            <pc:sldMk cId="688345081" sldId="2134806021"/>
            <ac:spMk id="24" creationId="{CD0CB928-AC7E-FA81-BF2E-6BCB3A7132C1}"/>
          </ac:spMkLst>
        </pc:spChg>
        <pc:spChg chg="del">
          <ac:chgData name="Angela Khanali Mutsotso" userId="f2187219-0cf6-4017-8dcd-5e0007a16163" providerId="ADAL" clId="{5337204F-6A06-4668-9EC2-59FBFA6B0D79}" dt="2024-03-01T16:59:27.368" v="1293" actId="478"/>
          <ac:spMkLst>
            <pc:docMk/>
            <pc:sldMk cId="688345081" sldId="2134806021"/>
            <ac:spMk id="30" creationId="{959CD3D0-CC76-35DB-3422-4759B5FDE847}"/>
          </ac:spMkLst>
        </pc:spChg>
        <pc:spChg chg="del">
          <ac:chgData name="Angela Khanali Mutsotso" userId="f2187219-0cf6-4017-8dcd-5e0007a16163" providerId="ADAL" clId="{5337204F-6A06-4668-9EC2-59FBFA6B0D79}" dt="2024-03-01T16:59:27.368" v="1293" actId="478"/>
          <ac:spMkLst>
            <pc:docMk/>
            <pc:sldMk cId="688345081" sldId="2134806021"/>
            <ac:spMk id="43" creationId="{33B5F2F0-558E-2C60-08D9-70D4A1FE16AF}"/>
          </ac:spMkLst>
        </pc:spChg>
        <pc:spChg chg="del">
          <ac:chgData name="Angela Khanali Mutsotso" userId="f2187219-0cf6-4017-8dcd-5e0007a16163" providerId="ADAL" clId="{5337204F-6A06-4668-9EC2-59FBFA6B0D79}" dt="2024-03-01T16:59:27.368" v="1293" actId="478"/>
          <ac:spMkLst>
            <pc:docMk/>
            <pc:sldMk cId="688345081" sldId="2134806021"/>
            <ac:spMk id="44" creationId="{BC8073A2-8AD7-D2AD-1ECA-CD8F9875A3E5}"/>
          </ac:spMkLst>
        </pc:spChg>
        <pc:graphicFrameChg chg="del mod">
          <ac:chgData name="Angela Khanali Mutsotso" userId="f2187219-0cf6-4017-8dcd-5e0007a16163" providerId="ADAL" clId="{5337204F-6A06-4668-9EC2-59FBFA6B0D79}" dt="2024-03-01T16:59:31.490" v="1295" actId="478"/>
          <ac:graphicFrameMkLst>
            <pc:docMk/>
            <pc:sldMk cId="688345081" sldId="2134806021"/>
            <ac:graphicFrameMk id="34" creationId="{2BE903D7-6844-36CE-1FBB-EFBF82AA35EC}"/>
          </ac:graphicFrameMkLst>
        </pc:graphicFrameChg>
        <pc:picChg chg="add mod">
          <ac:chgData name="Angela Khanali Mutsotso" userId="f2187219-0cf6-4017-8dcd-5e0007a16163" providerId="ADAL" clId="{5337204F-6A06-4668-9EC2-59FBFA6B0D79}" dt="2024-03-15T11:31:15.423" v="3192" actId="1076"/>
          <ac:picMkLst>
            <pc:docMk/>
            <pc:sldMk cId="688345081" sldId="2134806021"/>
            <ac:picMk id="3" creationId="{9AA3E02C-EEB6-1495-4E41-F9F358562DA6}"/>
          </ac:picMkLst>
        </pc:picChg>
        <pc:picChg chg="add mod">
          <ac:chgData name="Angela Khanali Mutsotso" userId="f2187219-0cf6-4017-8dcd-5e0007a16163" providerId="ADAL" clId="{5337204F-6A06-4668-9EC2-59FBFA6B0D79}" dt="2024-03-15T12:33:06.159" v="3857" actId="1076"/>
          <ac:picMkLst>
            <pc:docMk/>
            <pc:sldMk cId="688345081" sldId="2134806021"/>
            <ac:picMk id="6" creationId="{1F873A39-4117-B8DE-B51D-8E6675310942}"/>
          </ac:picMkLst>
        </pc:picChg>
        <pc:picChg chg="add del mod">
          <ac:chgData name="Angela Khanali Mutsotso" userId="f2187219-0cf6-4017-8dcd-5e0007a16163" providerId="ADAL" clId="{5337204F-6A06-4668-9EC2-59FBFA6B0D79}" dt="2024-03-15T11:30:35.523" v="3185" actId="478"/>
          <ac:picMkLst>
            <pc:docMk/>
            <pc:sldMk cId="688345081" sldId="2134806021"/>
            <ac:picMk id="8" creationId="{CB5255F9-0606-CCF0-D169-76087AC364EF}"/>
          </ac:picMkLst>
        </pc:picChg>
        <pc:picChg chg="del">
          <ac:chgData name="Angela Khanali Mutsotso" userId="f2187219-0cf6-4017-8dcd-5e0007a16163" providerId="ADAL" clId="{5337204F-6A06-4668-9EC2-59FBFA6B0D79}" dt="2024-03-01T16:59:27.368" v="1293" actId="478"/>
          <ac:picMkLst>
            <pc:docMk/>
            <pc:sldMk cId="688345081" sldId="2134806021"/>
            <ac:picMk id="10" creationId="{6053D8FF-DABB-59CA-03F4-6493919DC7F1}"/>
          </ac:picMkLst>
        </pc:picChg>
        <pc:picChg chg="del">
          <ac:chgData name="Angela Khanali Mutsotso" userId="f2187219-0cf6-4017-8dcd-5e0007a16163" providerId="ADAL" clId="{5337204F-6A06-4668-9EC2-59FBFA6B0D79}" dt="2024-03-01T16:59:27.368" v="1293" actId="478"/>
          <ac:picMkLst>
            <pc:docMk/>
            <pc:sldMk cId="688345081" sldId="2134806021"/>
            <ac:picMk id="11" creationId="{B7BB49C0-1862-63CE-C850-E3B6B7870D33}"/>
          </ac:picMkLst>
        </pc:picChg>
        <pc:picChg chg="del">
          <ac:chgData name="Angela Khanali Mutsotso" userId="f2187219-0cf6-4017-8dcd-5e0007a16163" providerId="ADAL" clId="{5337204F-6A06-4668-9EC2-59FBFA6B0D79}" dt="2024-03-01T16:59:27.368" v="1293" actId="478"/>
          <ac:picMkLst>
            <pc:docMk/>
            <pc:sldMk cId="688345081" sldId="2134806021"/>
            <ac:picMk id="28" creationId="{087FF80E-DF65-8409-9A15-1000F9150436}"/>
          </ac:picMkLst>
        </pc:picChg>
        <pc:picChg chg="del">
          <ac:chgData name="Angela Khanali Mutsotso" userId="f2187219-0cf6-4017-8dcd-5e0007a16163" providerId="ADAL" clId="{5337204F-6A06-4668-9EC2-59FBFA6B0D79}" dt="2024-03-01T16:59:27.368" v="1293" actId="478"/>
          <ac:picMkLst>
            <pc:docMk/>
            <pc:sldMk cId="688345081" sldId="2134806021"/>
            <ac:picMk id="29" creationId="{00FFD57E-EDFB-14F7-F866-AFAB49FBF0D5}"/>
          </ac:picMkLst>
        </pc:picChg>
        <pc:picChg chg="del">
          <ac:chgData name="Angela Khanali Mutsotso" userId="f2187219-0cf6-4017-8dcd-5e0007a16163" providerId="ADAL" clId="{5337204F-6A06-4668-9EC2-59FBFA6B0D79}" dt="2024-03-01T16:59:27.368" v="1293" actId="478"/>
          <ac:picMkLst>
            <pc:docMk/>
            <pc:sldMk cId="688345081" sldId="2134806021"/>
            <ac:picMk id="31" creationId="{F2EAFF0E-6A16-C86E-B31C-535B9233CBD9}"/>
          </ac:picMkLst>
        </pc:picChg>
        <pc:extLst>
          <p:ext xmlns:p="http://schemas.openxmlformats.org/presentationml/2006/main" uri="{D6D511B9-2390-475A-947B-AFAB55BFBCF1}">
            <pc226:cmChg xmlns:pc226="http://schemas.microsoft.com/office/powerpoint/2022/06/main/command" chg="mod">
              <pc226:chgData name="Angela Khanali Mutsotso" userId="f2187219-0cf6-4017-8dcd-5e0007a16163" providerId="ADAL" clId="{5337204F-6A06-4668-9EC2-59FBFA6B0D79}" dt="2024-03-15T12:15:33.191" v="3608"/>
              <pc2:cmMkLst xmlns:pc2="http://schemas.microsoft.com/office/powerpoint/2019/9/main/command">
                <pc:docMk/>
                <pc:sldMk cId="688345081" sldId="2134806021"/>
                <pc2:cmMk id="{F5E11C00-699F-41A5-A0B5-0012B9B69D56}"/>
              </pc2:cmMkLst>
              <pc226:cmRplyChg chg="add">
                <pc226:chgData name="Angela Khanali Mutsotso" userId="f2187219-0cf6-4017-8dcd-5e0007a16163" providerId="ADAL" clId="{5337204F-6A06-4668-9EC2-59FBFA6B0D79}" dt="2024-03-15T10:25:52.734" v="1933"/>
                <pc2:cmRplyMkLst xmlns:pc2="http://schemas.microsoft.com/office/powerpoint/2019/9/main/command">
                  <pc:docMk/>
                  <pc:sldMk cId="688345081" sldId="2134806021"/>
                  <pc2:cmMk id="{F5E11C00-699F-41A5-A0B5-0012B9B69D56}"/>
                  <pc2:cmRplyMk id="{8C8E1AF3-9FD7-4614-BF72-1C7CFE3F4F5A}"/>
                </pc2:cmRplyMkLst>
              </pc226:cmRplyChg>
            </pc226:cmChg>
            <pc226:cmChg xmlns:pc226="http://schemas.microsoft.com/office/powerpoint/2022/06/main/command" chg="mod">
              <pc226:chgData name="Angela Khanali Mutsotso" userId="f2187219-0cf6-4017-8dcd-5e0007a16163" providerId="ADAL" clId="{5337204F-6A06-4668-9EC2-59FBFA6B0D79}" dt="2024-03-15T12:15:35.282" v="3609"/>
              <pc2:cmMkLst xmlns:pc2="http://schemas.microsoft.com/office/powerpoint/2019/9/main/command">
                <pc:docMk/>
                <pc:sldMk cId="688345081" sldId="2134806021"/>
                <pc2:cmMk id="{BFCDEC6B-D5F9-4902-B4FD-2637952B5B53}"/>
              </pc2:cmMkLst>
            </pc226:cmChg>
          </p:ext>
        </pc:extLst>
      </pc:sldChg>
      <pc:sldChg chg="addSp delSp modSp add mod ord addCm modNotesTx">
        <pc:chgData name="Angela Khanali Mutsotso" userId="f2187219-0cf6-4017-8dcd-5e0007a16163" providerId="ADAL" clId="{5337204F-6A06-4668-9EC2-59FBFA6B0D79}" dt="2024-03-15T14:48:16.079" v="4271" actId="2711"/>
        <pc:sldMkLst>
          <pc:docMk/>
          <pc:sldMk cId="2092328661" sldId="2134806022"/>
        </pc:sldMkLst>
        <pc:spChg chg="mod">
          <ac:chgData name="Angela Khanali Mutsotso" userId="f2187219-0cf6-4017-8dcd-5e0007a16163" providerId="ADAL" clId="{5337204F-6A06-4668-9EC2-59FBFA6B0D79}" dt="2024-03-15T14:48:16.079" v="4271" actId="2711"/>
          <ac:spMkLst>
            <pc:docMk/>
            <pc:sldMk cId="2092328661" sldId="2134806022"/>
            <ac:spMk id="2" creationId="{6488B893-44C9-9035-3F08-FCF563521CDA}"/>
          </ac:spMkLst>
        </pc:spChg>
        <pc:spChg chg="mod">
          <ac:chgData name="Angela Khanali Mutsotso" userId="f2187219-0cf6-4017-8dcd-5e0007a16163" providerId="ADAL" clId="{5337204F-6A06-4668-9EC2-59FBFA6B0D79}" dt="2024-03-15T14:48:16.079" v="4271" actId="2711"/>
          <ac:spMkLst>
            <pc:docMk/>
            <pc:sldMk cId="2092328661" sldId="2134806022"/>
            <ac:spMk id="8" creationId="{46248936-C7E6-48DD-91DA-EAD275F750CE}"/>
          </ac:spMkLst>
        </pc:spChg>
        <pc:spChg chg="del">
          <ac:chgData name="Angela Khanali Mutsotso" userId="f2187219-0cf6-4017-8dcd-5e0007a16163" providerId="ADAL" clId="{5337204F-6A06-4668-9EC2-59FBFA6B0D79}" dt="2024-03-06T11:08:25.355" v="1738" actId="478"/>
          <ac:spMkLst>
            <pc:docMk/>
            <pc:sldMk cId="2092328661" sldId="2134806022"/>
            <ac:spMk id="10" creationId="{F5563484-787C-AD66-7027-1CEDF30A9232}"/>
          </ac:spMkLst>
        </pc:spChg>
        <pc:spChg chg="del">
          <ac:chgData name="Angela Khanali Mutsotso" userId="f2187219-0cf6-4017-8dcd-5e0007a16163" providerId="ADAL" clId="{5337204F-6A06-4668-9EC2-59FBFA6B0D79}" dt="2024-03-06T11:08:28.377" v="1739" actId="478"/>
          <ac:spMkLst>
            <pc:docMk/>
            <pc:sldMk cId="2092328661" sldId="2134806022"/>
            <ac:spMk id="14" creationId="{5DAB09FB-365A-3916-261E-31D11EE2F01C}"/>
          </ac:spMkLst>
        </pc:spChg>
        <pc:spChg chg="del">
          <ac:chgData name="Angela Khanali Mutsotso" userId="f2187219-0cf6-4017-8dcd-5e0007a16163" providerId="ADAL" clId="{5337204F-6A06-4668-9EC2-59FBFA6B0D79}" dt="2024-03-06T11:08:22.049" v="1736" actId="478"/>
          <ac:spMkLst>
            <pc:docMk/>
            <pc:sldMk cId="2092328661" sldId="2134806022"/>
            <ac:spMk id="18" creationId="{8FD2D699-AFFA-9FA6-42D0-64E7DBD9A10A}"/>
          </ac:spMkLst>
        </pc:spChg>
        <pc:grpChg chg="add mod">
          <ac:chgData name="Angela Khanali Mutsotso" userId="f2187219-0cf6-4017-8dcd-5e0007a16163" providerId="ADAL" clId="{5337204F-6A06-4668-9EC2-59FBFA6B0D79}" dt="2024-03-06T11:09:50.159" v="1825" actId="1076"/>
          <ac:grpSpMkLst>
            <pc:docMk/>
            <pc:sldMk cId="2092328661" sldId="2134806022"/>
            <ac:grpSpMk id="3" creationId="{838AF73B-A580-814A-C3E1-96A9D40FF72E}"/>
          </ac:grpSpMkLst>
        </pc:grpChg>
        <pc:picChg chg="mod">
          <ac:chgData name="Angela Khanali Mutsotso" userId="f2187219-0cf6-4017-8dcd-5e0007a16163" providerId="ADAL" clId="{5337204F-6A06-4668-9EC2-59FBFA6B0D79}" dt="2024-03-06T11:09:27.649" v="1818"/>
          <ac:picMkLst>
            <pc:docMk/>
            <pc:sldMk cId="2092328661" sldId="2134806022"/>
            <ac:picMk id="5" creationId="{0EE72885-5EE6-9124-4983-DEBDB474720A}"/>
          </ac:picMkLst>
        </pc:picChg>
        <pc:picChg chg="mod">
          <ac:chgData name="Angela Khanali Mutsotso" userId="f2187219-0cf6-4017-8dcd-5e0007a16163" providerId="ADAL" clId="{5337204F-6A06-4668-9EC2-59FBFA6B0D79}" dt="2024-03-06T11:09:27.649" v="1818"/>
          <ac:picMkLst>
            <pc:docMk/>
            <pc:sldMk cId="2092328661" sldId="2134806022"/>
            <ac:picMk id="6" creationId="{9334B69F-9675-838B-9A8E-AFE20872847E}"/>
          </ac:picMkLst>
        </pc:picChg>
        <pc:picChg chg="del">
          <ac:chgData name="Angela Khanali Mutsotso" userId="f2187219-0cf6-4017-8dcd-5e0007a16163" providerId="ADAL" clId="{5337204F-6A06-4668-9EC2-59FBFA6B0D79}" dt="2024-03-06T11:08:29.721" v="1740" actId="478"/>
          <ac:picMkLst>
            <pc:docMk/>
            <pc:sldMk cId="2092328661" sldId="2134806022"/>
            <ac:picMk id="7" creationId="{87FE0689-6308-874F-6178-153FF3AA2F9D}"/>
          </ac:picMkLst>
        </pc:picChg>
        <pc:picChg chg="mod">
          <ac:chgData name="Angela Khanali Mutsotso" userId="f2187219-0cf6-4017-8dcd-5e0007a16163" providerId="ADAL" clId="{5337204F-6A06-4668-9EC2-59FBFA6B0D79}" dt="2024-03-06T11:09:27.649" v="1818"/>
          <ac:picMkLst>
            <pc:docMk/>
            <pc:sldMk cId="2092328661" sldId="2134806022"/>
            <ac:picMk id="9" creationId="{DEFE8314-8FED-C5F7-9525-4CFDA5EC5A34}"/>
          </ac:picMkLst>
        </pc:picChg>
        <pc:picChg chg="add mod">
          <ac:chgData name="Angela Khanali Mutsotso" userId="f2187219-0cf6-4017-8dcd-5e0007a16163" providerId="ADAL" clId="{5337204F-6A06-4668-9EC2-59FBFA6B0D79}" dt="2024-03-15T12:25:56.663" v="3852" actId="1076"/>
          <ac:picMkLst>
            <pc:docMk/>
            <pc:sldMk cId="2092328661" sldId="2134806022"/>
            <ac:picMk id="11" creationId="{DE717392-4BCC-A5C4-A1F1-7DBD391A76C1}"/>
          </ac:picMkLst>
        </pc:picChg>
        <pc:picChg chg="del">
          <ac:chgData name="Angela Khanali Mutsotso" userId="f2187219-0cf6-4017-8dcd-5e0007a16163" providerId="ADAL" clId="{5337204F-6A06-4668-9EC2-59FBFA6B0D79}" dt="2024-03-06T11:08:23.620" v="1737" actId="478"/>
          <ac:picMkLst>
            <pc:docMk/>
            <pc:sldMk cId="2092328661" sldId="2134806022"/>
            <ac:picMk id="13" creationId="{77C2BB75-2B02-4B2F-13B8-DFB39264A738}"/>
          </ac:picMkLst>
        </pc:picChg>
        <pc:picChg chg="del">
          <ac:chgData name="Angela Khanali Mutsotso" userId="f2187219-0cf6-4017-8dcd-5e0007a16163" providerId="ADAL" clId="{5337204F-6A06-4668-9EC2-59FBFA6B0D79}" dt="2024-03-06T11:08:19.019" v="1735" actId="478"/>
          <ac:picMkLst>
            <pc:docMk/>
            <pc:sldMk cId="2092328661" sldId="2134806022"/>
            <ac:picMk id="17" creationId="{AEC61209-1CFD-7129-06DC-BE8CBFD07F69}"/>
          </ac:picMkLst>
        </pc:picChg>
        <pc:extLst>
          <p:ext xmlns:p="http://schemas.openxmlformats.org/presentationml/2006/main" uri="{D6D511B9-2390-475A-947B-AFAB55BFBCF1}">
            <pc226:cmChg xmlns:pc226="http://schemas.microsoft.com/office/powerpoint/2022/06/main/command" chg="add">
              <pc226:chgData name="Angela Khanali Mutsotso" userId="f2187219-0cf6-4017-8dcd-5e0007a16163" providerId="ADAL" clId="{5337204F-6A06-4668-9EC2-59FBFA6B0D79}" dt="2024-03-15T12:25:51.554" v="3851"/>
              <pc2:cmMkLst xmlns:pc2="http://schemas.microsoft.com/office/powerpoint/2019/9/main/command">
                <pc:docMk/>
                <pc:sldMk cId="2092328661" sldId="2134806022"/>
                <pc2:cmMk id="{2943C387-642B-4089-A395-613A072F9E16}"/>
              </pc2:cmMkLst>
            </pc226:cmChg>
            <pc226:cmChg xmlns:pc226="http://schemas.microsoft.com/office/powerpoint/2022/06/main/command" chg="add">
              <pc226:chgData name="Angela Khanali Mutsotso" userId="f2187219-0cf6-4017-8dcd-5e0007a16163" providerId="ADAL" clId="{5337204F-6A06-4668-9EC2-59FBFA6B0D79}" dt="2024-03-15T11:03:42.667" v="2951"/>
              <pc2:cmMkLst xmlns:pc2="http://schemas.microsoft.com/office/powerpoint/2019/9/main/command">
                <pc:docMk/>
                <pc:sldMk cId="2092328661" sldId="2134806022"/>
                <pc2:cmMk id="{DB1A4EC9-CDDC-47AA-A47B-A904D9BE4563}"/>
              </pc2:cmMkLst>
            </pc226:cmChg>
          </p:ext>
        </pc:extLst>
      </pc:sldChg>
      <pc:sldChg chg="add del">
        <pc:chgData name="Angela Khanali Mutsotso" userId="f2187219-0cf6-4017-8dcd-5e0007a16163" providerId="ADAL" clId="{5337204F-6A06-4668-9EC2-59FBFA6B0D79}" dt="2024-03-15T10:13:44.489" v="1839" actId="47"/>
        <pc:sldMkLst>
          <pc:docMk/>
          <pc:sldMk cId="443502275" sldId="2134806023"/>
        </pc:sldMkLst>
      </pc:sldChg>
      <pc:sldChg chg="addSp delSp modSp add mod ord modNotesTx">
        <pc:chgData name="Angela Khanali Mutsotso" userId="f2187219-0cf6-4017-8dcd-5e0007a16163" providerId="ADAL" clId="{5337204F-6A06-4668-9EC2-59FBFA6B0D79}" dt="2024-03-15T14:46:59.105" v="4267" actId="2711"/>
        <pc:sldMkLst>
          <pc:docMk/>
          <pc:sldMk cId="1075289462" sldId="2134806023"/>
        </pc:sldMkLst>
        <pc:spChg chg="del">
          <ac:chgData name="Angela Khanali Mutsotso" userId="f2187219-0cf6-4017-8dcd-5e0007a16163" providerId="ADAL" clId="{5337204F-6A06-4668-9EC2-59FBFA6B0D79}" dt="2024-03-15T10:19:04.057" v="1850" actId="478"/>
          <ac:spMkLst>
            <pc:docMk/>
            <pc:sldMk cId="1075289462" sldId="2134806023"/>
            <ac:spMk id="2" creationId="{3263325C-8D52-F721-A313-E8D3A2926916}"/>
          </ac:spMkLst>
        </pc:spChg>
        <pc:spChg chg="mod">
          <ac:chgData name="Angela Khanali Mutsotso" userId="f2187219-0cf6-4017-8dcd-5e0007a16163" providerId="ADAL" clId="{5337204F-6A06-4668-9EC2-59FBFA6B0D79}" dt="2024-03-15T14:46:41.464" v="4266" actId="2711"/>
          <ac:spMkLst>
            <pc:docMk/>
            <pc:sldMk cId="1075289462" sldId="2134806023"/>
            <ac:spMk id="4" creationId="{E614ECFF-D44B-451B-FF0C-432D15F2788F}"/>
          </ac:spMkLst>
        </pc:spChg>
        <pc:spChg chg="add mod">
          <ac:chgData name="Angela Khanali Mutsotso" userId="f2187219-0cf6-4017-8dcd-5e0007a16163" providerId="ADAL" clId="{5337204F-6A06-4668-9EC2-59FBFA6B0D79}" dt="2024-03-15T10:19:15.641" v="1853"/>
          <ac:spMkLst>
            <pc:docMk/>
            <pc:sldMk cId="1075289462" sldId="2134806023"/>
            <ac:spMk id="10" creationId="{815356CB-72E2-D7D3-92D4-7575EA9391D0}"/>
          </ac:spMkLst>
        </pc:spChg>
        <pc:spChg chg="add mod">
          <ac:chgData name="Angela Khanali Mutsotso" userId="f2187219-0cf6-4017-8dcd-5e0007a16163" providerId="ADAL" clId="{5337204F-6A06-4668-9EC2-59FBFA6B0D79}" dt="2024-03-15T14:46:59.105" v="4267" actId="2711"/>
          <ac:spMkLst>
            <pc:docMk/>
            <pc:sldMk cId="1075289462" sldId="2134806023"/>
            <ac:spMk id="19" creationId="{6495930C-03AE-E2CF-6AD3-CA17EE2E2351}"/>
          </ac:spMkLst>
        </pc:spChg>
        <pc:spChg chg="add mod">
          <ac:chgData name="Angela Khanali Mutsotso" userId="f2187219-0cf6-4017-8dcd-5e0007a16163" providerId="ADAL" clId="{5337204F-6A06-4668-9EC2-59FBFA6B0D79}" dt="2024-03-15T14:46:59.105" v="4267" actId="2711"/>
          <ac:spMkLst>
            <pc:docMk/>
            <pc:sldMk cId="1075289462" sldId="2134806023"/>
            <ac:spMk id="20" creationId="{C41C7E96-1A48-0D30-BA08-9100FC63E3C7}"/>
          </ac:spMkLst>
        </pc:spChg>
        <pc:spChg chg="add mod">
          <ac:chgData name="Angela Khanali Mutsotso" userId="f2187219-0cf6-4017-8dcd-5e0007a16163" providerId="ADAL" clId="{5337204F-6A06-4668-9EC2-59FBFA6B0D79}" dt="2024-03-15T14:46:59.105" v="4267" actId="2711"/>
          <ac:spMkLst>
            <pc:docMk/>
            <pc:sldMk cId="1075289462" sldId="2134806023"/>
            <ac:spMk id="21" creationId="{B47C818E-5889-C045-C90D-088CBCA27E30}"/>
          </ac:spMkLst>
        </pc:spChg>
        <pc:spChg chg="add mod">
          <ac:chgData name="Angela Khanali Mutsotso" userId="f2187219-0cf6-4017-8dcd-5e0007a16163" providerId="ADAL" clId="{5337204F-6A06-4668-9EC2-59FBFA6B0D79}" dt="2024-03-15T14:46:59.105" v="4267" actId="2711"/>
          <ac:spMkLst>
            <pc:docMk/>
            <pc:sldMk cId="1075289462" sldId="2134806023"/>
            <ac:spMk id="22" creationId="{36F4C157-38F1-EB8B-A060-F2DFE77443D0}"/>
          </ac:spMkLst>
        </pc:spChg>
        <pc:spChg chg="add mod">
          <ac:chgData name="Angela Khanali Mutsotso" userId="f2187219-0cf6-4017-8dcd-5e0007a16163" providerId="ADAL" clId="{5337204F-6A06-4668-9EC2-59FBFA6B0D79}" dt="2024-03-15T14:46:59.105" v="4267" actId="2711"/>
          <ac:spMkLst>
            <pc:docMk/>
            <pc:sldMk cId="1075289462" sldId="2134806023"/>
            <ac:spMk id="23" creationId="{754DC0E4-0D18-D7C5-6F6B-69E435B9C487}"/>
          </ac:spMkLst>
        </pc:spChg>
        <pc:spChg chg="add mod">
          <ac:chgData name="Angela Khanali Mutsotso" userId="f2187219-0cf6-4017-8dcd-5e0007a16163" providerId="ADAL" clId="{5337204F-6A06-4668-9EC2-59FBFA6B0D79}" dt="2024-03-15T14:46:59.105" v="4267" actId="2711"/>
          <ac:spMkLst>
            <pc:docMk/>
            <pc:sldMk cId="1075289462" sldId="2134806023"/>
            <ac:spMk id="24" creationId="{F01E7C77-C5D9-9E6D-3824-3E85005FCFA3}"/>
          </ac:spMkLst>
        </pc:spChg>
        <pc:spChg chg="add mod">
          <ac:chgData name="Angela Khanali Mutsotso" userId="f2187219-0cf6-4017-8dcd-5e0007a16163" providerId="ADAL" clId="{5337204F-6A06-4668-9EC2-59FBFA6B0D79}" dt="2024-03-15T14:46:59.105" v="4267" actId="2711"/>
          <ac:spMkLst>
            <pc:docMk/>
            <pc:sldMk cId="1075289462" sldId="2134806023"/>
            <ac:spMk id="25" creationId="{402752F1-7022-AD8C-C48E-5664FF98872C}"/>
          </ac:spMkLst>
        </pc:spChg>
        <pc:spChg chg="add mod">
          <ac:chgData name="Angela Khanali Mutsotso" userId="f2187219-0cf6-4017-8dcd-5e0007a16163" providerId="ADAL" clId="{5337204F-6A06-4668-9EC2-59FBFA6B0D79}" dt="2024-03-15T14:46:59.105" v="4267" actId="2711"/>
          <ac:spMkLst>
            <pc:docMk/>
            <pc:sldMk cId="1075289462" sldId="2134806023"/>
            <ac:spMk id="26" creationId="{DC551D6F-4DBC-62B8-7372-95744C07EBAF}"/>
          </ac:spMkLst>
        </pc:spChg>
        <pc:spChg chg="add mod">
          <ac:chgData name="Angela Khanali Mutsotso" userId="f2187219-0cf6-4017-8dcd-5e0007a16163" providerId="ADAL" clId="{5337204F-6A06-4668-9EC2-59FBFA6B0D79}" dt="2024-03-15T14:46:59.105" v="4267" actId="2711"/>
          <ac:spMkLst>
            <pc:docMk/>
            <pc:sldMk cId="1075289462" sldId="2134806023"/>
            <ac:spMk id="27" creationId="{B8708D7B-CA4B-D37C-A098-A26BF325CB66}"/>
          </ac:spMkLst>
        </pc:spChg>
        <pc:spChg chg="mod">
          <ac:chgData name="Angela Khanali Mutsotso" userId="f2187219-0cf6-4017-8dcd-5e0007a16163" providerId="ADAL" clId="{5337204F-6A06-4668-9EC2-59FBFA6B0D79}" dt="2024-03-15T14:46:59.105" v="4267" actId="2711"/>
          <ac:spMkLst>
            <pc:docMk/>
            <pc:sldMk cId="1075289462" sldId="2134806023"/>
            <ac:spMk id="29" creationId="{F8E596B1-A0F2-1444-C6D6-634AAEA69F92}"/>
          </ac:spMkLst>
        </pc:spChg>
        <pc:spChg chg="add mod">
          <ac:chgData name="Angela Khanali Mutsotso" userId="f2187219-0cf6-4017-8dcd-5e0007a16163" providerId="ADAL" clId="{5337204F-6A06-4668-9EC2-59FBFA6B0D79}" dt="2024-03-15T10:29:18.575" v="1937" actId="403"/>
          <ac:spMkLst>
            <pc:docMk/>
            <pc:sldMk cId="1075289462" sldId="2134806023"/>
            <ac:spMk id="33" creationId="{B7552802-BCF9-E374-58BC-8522C7A9CD23}"/>
          </ac:spMkLst>
        </pc:spChg>
        <pc:spChg chg="add mod">
          <ac:chgData name="Angela Khanali Mutsotso" userId="f2187219-0cf6-4017-8dcd-5e0007a16163" providerId="ADAL" clId="{5337204F-6A06-4668-9EC2-59FBFA6B0D79}" dt="2024-03-15T14:46:59.105" v="4267" actId="2711"/>
          <ac:spMkLst>
            <pc:docMk/>
            <pc:sldMk cId="1075289462" sldId="2134806023"/>
            <ac:spMk id="34" creationId="{A8AC88B8-A78E-AE64-86C4-DD537B2BAA25}"/>
          </ac:spMkLst>
        </pc:spChg>
        <pc:spChg chg="add mod">
          <ac:chgData name="Angela Khanali Mutsotso" userId="f2187219-0cf6-4017-8dcd-5e0007a16163" providerId="ADAL" clId="{5337204F-6A06-4668-9EC2-59FBFA6B0D79}" dt="2024-03-15T10:29:18.575" v="1937" actId="403"/>
          <ac:spMkLst>
            <pc:docMk/>
            <pc:sldMk cId="1075289462" sldId="2134806023"/>
            <ac:spMk id="36" creationId="{37D1BB6F-EECD-67E8-AB76-DA3018AA1967}"/>
          </ac:spMkLst>
        </pc:spChg>
        <pc:spChg chg="add mod">
          <ac:chgData name="Angela Khanali Mutsotso" userId="f2187219-0cf6-4017-8dcd-5e0007a16163" providerId="ADAL" clId="{5337204F-6A06-4668-9EC2-59FBFA6B0D79}" dt="2024-03-15T14:46:59.105" v="4267" actId="2711"/>
          <ac:spMkLst>
            <pc:docMk/>
            <pc:sldMk cId="1075289462" sldId="2134806023"/>
            <ac:spMk id="38" creationId="{C2DD8BCD-211A-3D3C-B333-C3B162E77095}"/>
          </ac:spMkLst>
        </pc:spChg>
        <pc:spChg chg="add mod ord">
          <ac:chgData name="Angela Khanali Mutsotso" userId="f2187219-0cf6-4017-8dcd-5e0007a16163" providerId="ADAL" clId="{5337204F-6A06-4668-9EC2-59FBFA6B0D79}" dt="2024-03-15T14:46:59.105" v="4267" actId="2711"/>
          <ac:spMkLst>
            <pc:docMk/>
            <pc:sldMk cId="1075289462" sldId="2134806023"/>
            <ac:spMk id="39" creationId="{9A4F920E-709F-1298-4E1E-913D1B098013}"/>
          </ac:spMkLst>
        </pc:spChg>
        <pc:grpChg chg="add mod">
          <ac:chgData name="Angela Khanali Mutsotso" userId="f2187219-0cf6-4017-8dcd-5e0007a16163" providerId="ADAL" clId="{5337204F-6A06-4668-9EC2-59FBFA6B0D79}" dt="2024-03-15T10:19:47.278" v="1854"/>
          <ac:grpSpMkLst>
            <pc:docMk/>
            <pc:sldMk cId="1075289462" sldId="2134806023"/>
            <ac:grpSpMk id="28" creationId="{F2649203-AF90-3A70-FD9B-570F5BD2ED3B}"/>
          </ac:grpSpMkLst>
        </pc:grpChg>
        <pc:picChg chg="del">
          <ac:chgData name="Angela Khanali Mutsotso" userId="f2187219-0cf6-4017-8dcd-5e0007a16163" providerId="ADAL" clId="{5337204F-6A06-4668-9EC2-59FBFA6B0D79}" dt="2024-03-15T10:19:01.532" v="1849" actId="478"/>
          <ac:picMkLst>
            <pc:docMk/>
            <pc:sldMk cId="1075289462" sldId="2134806023"/>
            <ac:picMk id="5" creationId="{58107C11-2A63-D554-0BB9-998E9E3BA53C}"/>
          </ac:picMkLst>
        </pc:picChg>
        <pc:picChg chg="del">
          <ac:chgData name="Angela Khanali Mutsotso" userId="f2187219-0cf6-4017-8dcd-5e0007a16163" providerId="ADAL" clId="{5337204F-6A06-4668-9EC2-59FBFA6B0D79}" dt="2024-03-15T10:19:00.284" v="1848" actId="478"/>
          <ac:picMkLst>
            <pc:docMk/>
            <pc:sldMk cId="1075289462" sldId="2134806023"/>
            <ac:picMk id="6" creationId="{35EA3BD2-DB42-B657-1AEC-92BE31090BB8}"/>
          </ac:picMkLst>
        </pc:picChg>
        <pc:picChg chg="del">
          <ac:chgData name="Angela Khanali Mutsotso" userId="f2187219-0cf6-4017-8dcd-5e0007a16163" providerId="ADAL" clId="{5337204F-6A06-4668-9EC2-59FBFA6B0D79}" dt="2024-03-15T10:19:07.117" v="1852" actId="478"/>
          <ac:picMkLst>
            <pc:docMk/>
            <pc:sldMk cId="1075289462" sldId="2134806023"/>
            <ac:picMk id="7" creationId="{DBBA8C95-78FC-2536-34C5-D3BE03AE95A2}"/>
          </ac:picMkLst>
        </pc:picChg>
        <pc:picChg chg="del">
          <ac:chgData name="Angela Khanali Mutsotso" userId="f2187219-0cf6-4017-8dcd-5e0007a16163" providerId="ADAL" clId="{5337204F-6A06-4668-9EC2-59FBFA6B0D79}" dt="2024-03-15T10:19:05.196" v="1851" actId="478"/>
          <ac:picMkLst>
            <pc:docMk/>
            <pc:sldMk cId="1075289462" sldId="2134806023"/>
            <ac:picMk id="8" creationId="{F209F333-68F8-7B72-3F43-E6F16828CB36}"/>
          </ac:picMkLst>
        </pc:picChg>
        <pc:picChg chg="add mod">
          <ac:chgData name="Angela Khanali Mutsotso" userId="f2187219-0cf6-4017-8dcd-5e0007a16163" providerId="ADAL" clId="{5337204F-6A06-4668-9EC2-59FBFA6B0D79}" dt="2024-03-15T10:19:47.278" v="1854"/>
          <ac:picMkLst>
            <pc:docMk/>
            <pc:sldMk cId="1075289462" sldId="2134806023"/>
            <ac:picMk id="11" creationId="{3FB5154B-B918-5539-5BAA-AB631E6A5AD1}"/>
          </ac:picMkLst>
        </pc:picChg>
        <pc:picChg chg="add mod">
          <ac:chgData name="Angela Khanali Mutsotso" userId="f2187219-0cf6-4017-8dcd-5e0007a16163" providerId="ADAL" clId="{5337204F-6A06-4668-9EC2-59FBFA6B0D79}" dt="2024-03-15T10:19:47.278" v="1854"/>
          <ac:picMkLst>
            <pc:docMk/>
            <pc:sldMk cId="1075289462" sldId="2134806023"/>
            <ac:picMk id="12" creationId="{94AF1DCB-B39A-AFCA-330C-12ECEBAD93B7}"/>
          </ac:picMkLst>
        </pc:picChg>
        <pc:picChg chg="add mod">
          <ac:chgData name="Angela Khanali Mutsotso" userId="f2187219-0cf6-4017-8dcd-5e0007a16163" providerId="ADAL" clId="{5337204F-6A06-4668-9EC2-59FBFA6B0D79}" dt="2024-03-15T10:19:47.278" v="1854"/>
          <ac:picMkLst>
            <pc:docMk/>
            <pc:sldMk cId="1075289462" sldId="2134806023"/>
            <ac:picMk id="13" creationId="{914F162F-C5B2-D5D5-8BCF-1A375CCD81FB}"/>
          </ac:picMkLst>
        </pc:picChg>
        <pc:picChg chg="add mod">
          <ac:chgData name="Angela Khanali Mutsotso" userId="f2187219-0cf6-4017-8dcd-5e0007a16163" providerId="ADAL" clId="{5337204F-6A06-4668-9EC2-59FBFA6B0D79}" dt="2024-03-15T10:19:47.278" v="1854"/>
          <ac:picMkLst>
            <pc:docMk/>
            <pc:sldMk cId="1075289462" sldId="2134806023"/>
            <ac:picMk id="14" creationId="{41220E4C-0081-0378-ABB1-8DA454FD0595}"/>
          </ac:picMkLst>
        </pc:picChg>
        <pc:picChg chg="add mod">
          <ac:chgData name="Angela Khanali Mutsotso" userId="f2187219-0cf6-4017-8dcd-5e0007a16163" providerId="ADAL" clId="{5337204F-6A06-4668-9EC2-59FBFA6B0D79}" dt="2024-03-15T10:19:47.278" v="1854"/>
          <ac:picMkLst>
            <pc:docMk/>
            <pc:sldMk cId="1075289462" sldId="2134806023"/>
            <ac:picMk id="15" creationId="{06F093EC-46D9-81C0-4D27-281DD320877D}"/>
          </ac:picMkLst>
        </pc:picChg>
        <pc:picChg chg="add mod">
          <ac:chgData name="Angela Khanali Mutsotso" userId="f2187219-0cf6-4017-8dcd-5e0007a16163" providerId="ADAL" clId="{5337204F-6A06-4668-9EC2-59FBFA6B0D79}" dt="2024-03-15T10:19:47.278" v="1854"/>
          <ac:picMkLst>
            <pc:docMk/>
            <pc:sldMk cId="1075289462" sldId="2134806023"/>
            <ac:picMk id="16" creationId="{3793F665-5D30-2CE6-BBAB-4D61FB3DD9C0}"/>
          </ac:picMkLst>
        </pc:picChg>
        <pc:picChg chg="add mod">
          <ac:chgData name="Angela Khanali Mutsotso" userId="f2187219-0cf6-4017-8dcd-5e0007a16163" providerId="ADAL" clId="{5337204F-6A06-4668-9EC2-59FBFA6B0D79}" dt="2024-03-15T10:19:47.278" v="1854"/>
          <ac:picMkLst>
            <pc:docMk/>
            <pc:sldMk cId="1075289462" sldId="2134806023"/>
            <ac:picMk id="17" creationId="{9A809225-2265-5268-6CA3-D9490EEB1E8E}"/>
          </ac:picMkLst>
        </pc:picChg>
        <pc:picChg chg="add mod">
          <ac:chgData name="Angela Khanali Mutsotso" userId="f2187219-0cf6-4017-8dcd-5e0007a16163" providerId="ADAL" clId="{5337204F-6A06-4668-9EC2-59FBFA6B0D79}" dt="2024-03-15T10:29:29.472" v="1938" actId="1076"/>
          <ac:picMkLst>
            <pc:docMk/>
            <pc:sldMk cId="1075289462" sldId="2134806023"/>
            <ac:picMk id="18" creationId="{EC30B217-3C29-8FBD-C609-EB15653E9ED7}"/>
          </ac:picMkLst>
        </pc:picChg>
        <pc:picChg chg="mod">
          <ac:chgData name="Angela Khanali Mutsotso" userId="f2187219-0cf6-4017-8dcd-5e0007a16163" providerId="ADAL" clId="{5337204F-6A06-4668-9EC2-59FBFA6B0D79}" dt="2024-03-15T10:19:47.278" v="1854"/>
          <ac:picMkLst>
            <pc:docMk/>
            <pc:sldMk cId="1075289462" sldId="2134806023"/>
            <ac:picMk id="30" creationId="{D2C62BE5-341A-F260-3AE2-EC5AF93C5F78}"/>
          </ac:picMkLst>
        </pc:picChg>
        <pc:picChg chg="add mod">
          <ac:chgData name="Angela Khanali Mutsotso" userId="f2187219-0cf6-4017-8dcd-5e0007a16163" providerId="ADAL" clId="{5337204F-6A06-4668-9EC2-59FBFA6B0D79}" dt="2024-03-15T10:20:59.470" v="1914" actId="1076"/>
          <ac:picMkLst>
            <pc:docMk/>
            <pc:sldMk cId="1075289462" sldId="2134806023"/>
            <ac:picMk id="31" creationId="{C5105FCF-8525-6682-6147-D2329E0984F0}"/>
          </ac:picMkLst>
        </pc:picChg>
        <pc:picChg chg="add mod">
          <ac:chgData name="Angela Khanali Mutsotso" userId="f2187219-0cf6-4017-8dcd-5e0007a16163" providerId="ADAL" clId="{5337204F-6A06-4668-9EC2-59FBFA6B0D79}" dt="2024-03-15T10:22:34.831" v="1922" actId="1076"/>
          <ac:picMkLst>
            <pc:docMk/>
            <pc:sldMk cId="1075289462" sldId="2134806023"/>
            <ac:picMk id="32" creationId="{5093A58C-8E5E-D3F9-92F5-8B582FEBF646}"/>
          </ac:picMkLst>
        </pc:picChg>
        <pc:picChg chg="add mod">
          <ac:chgData name="Angela Khanali Mutsotso" userId="f2187219-0cf6-4017-8dcd-5e0007a16163" providerId="ADAL" clId="{5337204F-6A06-4668-9EC2-59FBFA6B0D79}" dt="2024-03-15T10:20:59.470" v="1914" actId="1076"/>
          <ac:picMkLst>
            <pc:docMk/>
            <pc:sldMk cId="1075289462" sldId="2134806023"/>
            <ac:picMk id="35" creationId="{3EEE439A-6B99-20BA-4DD7-19C191B23FE7}"/>
          </ac:picMkLst>
        </pc:picChg>
        <pc:picChg chg="add mod">
          <ac:chgData name="Angela Khanali Mutsotso" userId="f2187219-0cf6-4017-8dcd-5e0007a16163" providerId="ADAL" clId="{5337204F-6A06-4668-9EC2-59FBFA6B0D79}" dt="2024-03-15T10:22:34.831" v="1922" actId="1076"/>
          <ac:picMkLst>
            <pc:docMk/>
            <pc:sldMk cId="1075289462" sldId="2134806023"/>
            <ac:picMk id="37" creationId="{5CB69634-1CCB-7924-0F38-78593BDD28A1}"/>
          </ac:picMkLst>
        </pc:picChg>
        <pc:cxnChg chg="add mod">
          <ac:chgData name="Angela Khanali Mutsotso" userId="f2187219-0cf6-4017-8dcd-5e0007a16163" providerId="ADAL" clId="{5337204F-6A06-4668-9EC2-59FBFA6B0D79}" dt="2024-03-15T10:30:02.829" v="1942" actId="208"/>
          <ac:cxnSpMkLst>
            <pc:docMk/>
            <pc:sldMk cId="1075289462" sldId="2134806023"/>
            <ac:cxnSpMk id="41" creationId="{1F683F5C-81A2-CF0C-9720-8381BBAD811C}"/>
          </ac:cxnSpMkLst>
        </pc:cxnChg>
      </pc:sldChg>
      <pc:sldChg chg="modSp add del mod">
        <pc:chgData name="Angela Khanali Mutsotso" userId="f2187219-0cf6-4017-8dcd-5e0007a16163" providerId="ADAL" clId="{5337204F-6A06-4668-9EC2-59FBFA6B0D79}" dt="2024-03-15T14:04:06.848" v="3865" actId="47"/>
        <pc:sldMkLst>
          <pc:docMk/>
          <pc:sldMk cId="2844033588" sldId="2134806024"/>
        </pc:sldMkLst>
        <pc:spChg chg="mod">
          <ac:chgData name="Angela Khanali Mutsotso" userId="f2187219-0cf6-4017-8dcd-5e0007a16163" providerId="ADAL" clId="{5337204F-6A06-4668-9EC2-59FBFA6B0D79}" dt="2024-03-15T14:04:04.870" v="3864" actId="6549"/>
          <ac:spMkLst>
            <pc:docMk/>
            <pc:sldMk cId="2844033588" sldId="2134806024"/>
            <ac:spMk id="9" creationId="{7E514A52-4527-364B-9B61-754151F36BC5}"/>
          </ac:spMkLst>
        </pc:spChg>
      </pc:sldChg>
      <pc:sldChg chg="new del">
        <pc:chgData name="Angela Khanali Mutsotso" userId="f2187219-0cf6-4017-8dcd-5e0007a16163" providerId="ADAL" clId="{5337204F-6A06-4668-9EC2-59FBFA6B0D79}" dt="2024-03-15T14:03:57.028" v="3862" actId="47"/>
        <pc:sldMkLst>
          <pc:docMk/>
          <pc:sldMk cId="2857715030" sldId="2134806024"/>
        </pc:sldMkLst>
      </pc:sldChg>
      <pc:sldChg chg="addSp delSp modSp add del mod ord">
        <pc:chgData name="Angela Khanali Mutsotso" userId="f2187219-0cf6-4017-8dcd-5e0007a16163" providerId="ADAL" clId="{5337204F-6A06-4668-9EC2-59FBFA6B0D79}" dt="2024-03-15T14:36:04.292" v="4047" actId="47"/>
        <pc:sldMkLst>
          <pc:docMk/>
          <pc:sldMk cId="3982578145" sldId="2134806024"/>
        </pc:sldMkLst>
        <pc:spChg chg="del mod">
          <ac:chgData name="Angela Khanali Mutsotso" userId="f2187219-0cf6-4017-8dcd-5e0007a16163" providerId="ADAL" clId="{5337204F-6A06-4668-9EC2-59FBFA6B0D79}" dt="2024-03-15T14:08:00.138" v="3875" actId="478"/>
          <ac:spMkLst>
            <pc:docMk/>
            <pc:sldMk cId="3982578145" sldId="2134806024"/>
            <ac:spMk id="10" creationId="{A1E3547E-2B94-D1E4-73E1-60CA31202873}"/>
          </ac:spMkLst>
        </pc:spChg>
        <pc:spChg chg="del">
          <ac:chgData name="Angela Khanali Mutsotso" userId="f2187219-0cf6-4017-8dcd-5e0007a16163" providerId="ADAL" clId="{5337204F-6A06-4668-9EC2-59FBFA6B0D79}" dt="2024-03-15T14:06:58.307" v="3871" actId="478"/>
          <ac:spMkLst>
            <pc:docMk/>
            <pc:sldMk cId="3982578145" sldId="2134806024"/>
            <ac:spMk id="11" creationId="{49FB1C74-715B-C29A-F848-5A04048B58AE}"/>
          </ac:spMkLst>
        </pc:spChg>
        <pc:spChg chg="del">
          <ac:chgData name="Angela Khanali Mutsotso" userId="f2187219-0cf6-4017-8dcd-5e0007a16163" providerId="ADAL" clId="{5337204F-6A06-4668-9EC2-59FBFA6B0D79}" dt="2024-03-15T14:06:58.307" v="3871" actId="478"/>
          <ac:spMkLst>
            <pc:docMk/>
            <pc:sldMk cId="3982578145" sldId="2134806024"/>
            <ac:spMk id="13" creationId="{69BE1A85-E4C4-94B1-2559-34204D547442}"/>
          </ac:spMkLst>
        </pc:spChg>
        <pc:spChg chg="add del mod">
          <ac:chgData name="Angela Khanali Mutsotso" userId="f2187219-0cf6-4017-8dcd-5e0007a16163" providerId="ADAL" clId="{5337204F-6A06-4668-9EC2-59FBFA6B0D79}" dt="2024-03-15T14:09:22.194" v="3879" actId="478"/>
          <ac:spMkLst>
            <pc:docMk/>
            <pc:sldMk cId="3982578145" sldId="2134806024"/>
            <ac:spMk id="14" creationId="{B2872BB4-B516-4F2C-66EB-2E15E921ED5F}"/>
          </ac:spMkLst>
        </pc:spChg>
        <pc:spChg chg="del">
          <ac:chgData name="Angela Khanali Mutsotso" userId="f2187219-0cf6-4017-8dcd-5e0007a16163" providerId="ADAL" clId="{5337204F-6A06-4668-9EC2-59FBFA6B0D79}" dt="2024-03-15T14:06:58.307" v="3871" actId="478"/>
          <ac:spMkLst>
            <pc:docMk/>
            <pc:sldMk cId="3982578145" sldId="2134806024"/>
            <ac:spMk id="15" creationId="{4DC1657A-A459-25C8-01A3-6A9BA36CA0AC}"/>
          </ac:spMkLst>
        </pc:spChg>
        <pc:spChg chg="del">
          <ac:chgData name="Angela Khanali Mutsotso" userId="f2187219-0cf6-4017-8dcd-5e0007a16163" providerId="ADAL" clId="{5337204F-6A06-4668-9EC2-59FBFA6B0D79}" dt="2024-03-15T14:06:58.307" v="3871" actId="478"/>
          <ac:spMkLst>
            <pc:docMk/>
            <pc:sldMk cId="3982578145" sldId="2134806024"/>
            <ac:spMk id="16" creationId="{D1A28E69-6712-ED54-B242-24C46284E735}"/>
          </ac:spMkLst>
        </pc:spChg>
        <pc:spChg chg="del">
          <ac:chgData name="Angela Khanali Mutsotso" userId="f2187219-0cf6-4017-8dcd-5e0007a16163" providerId="ADAL" clId="{5337204F-6A06-4668-9EC2-59FBFA6B0D79}" dt="2024-03-15T14:06:58.307" v="3871" actId="478"/>
          <ac:spMkLst>
            <pc:docMk/>
            <pc:sldMk cId="3982578145" sldId="2134806024"/>
            <ac:spMk id="17" creationId="{7C07C55D-E976-CC65-822C-9AC49EFCD8AF}"/>
          </ac:spMkLst>
        </pc:spChg>
        <pc:spChg chg="del">
          <ac:chgData name="Angela Khanali Mutsotso" userId="f2187219-0cf6-4017-8dcd-5e0007a16163" providerId="ADAL" clId="{5337204F-6A06-4668-9EC2-59FBFA6B0D79}" dt="2024-03-15T14:06:58.307" v="3871" actId="478"/>
          <ac:spMkLst>
            <pc:docMk/>
            <pc:sldMk cId="3982578145" sldId="2134806024"/>
            <ac:spMk id="19" creationId="{B27F8AF9-00D0-584D-BC26-473B77DB02E3}"/>
          </ac:spMkLst>
        </pc:spChg>
        <pc:spChg chg="del">
          <ac:chgData name="Angela Khanali Mutsotso" userId="f2187219-0cf6-4017-8dcd-5e0007a16163" providerId="ADAL" clId="{5337204F-6A06-4668-9EC2-59FBFA6B0D79}" dt="2024-03-15T14:07:09.601" v="3873" actId="478"/>
          <ac:spMkLst>
            <pc:docMk/>
            <pc:sldMk cId="3982578145" sldId="2134806024"/>
            <ac:spMk id="21" creationId="{C27B799C-27AB-5A1C-612D-E8B2DC430701}"/>
          </ac:spMkLst>
        </pc:spChg>
        <pc:spChg chg="add del mod">
          <ac:chgData name="Angela Khanali Mutsotso" userId="f2187219-0cf6-4017-8dcd-5e0007a16163" providerId="ADAL" clId="{5337204F-6A06-4668-9EC2-59FBFA6B0D79}" dt="2024-03-15T14:15:20.201" v="3920" actId="478"/>
          <ac:spMkLst>
            <pc:docMk/>
            <pc:sldMk cId="3982578145" sldId="2134806024"/>
            <ac:spMk id="22" creationId="{01CAE3F6-2F3E-28E2-6661-0771F81D4476}"/>
          </ac:spMkLst>
        </pc:spChg>
        <pc:spChg chg="add del mod">
          <ac:chgData name="Angela Khanali Mutsotso" userId="f2187219-0cf6-4017-8dcd-5e0007a16163" providerId="ADAL" clId="{5337204F-6A06-4668-9EC2-59FBFA6B0D79}" dt="2024-03-15T14:22:15.067" v="3981" actId="478"/>
          <ac:spMkLst>
            <pc:docMk/>
            <pc:sldMk cId="3982578145" sldId="2134806024"/>
            <ac:spMk id="23" creationId="{87DA2F1F-3DD3-98E7-0336-8BF25055C33B}"/>
          </ac:spMkLst>
        </pc:spChg>
        <pc:spChg chg="add del mod">
          <ac:chgData name="Angela Khanali Mutsotso" userId="f2187219-0cf6-4017-8dcd-5e0007a16163" providerId="ADAL" clId="{5337204F-6A06-4668-9EC2-59FBFA6B0D79}" dt="2024-03-15T14:17:24.020" v="3933" actId="478"/>
          <ac:spMkLst>
            <pc:docMk/>
            <pc:sldMk cId="3982578145" sldId="2134806024"/>
            <ac:spMk id="24" creationId="{7E791D40-87C3-2FED-682F-A11FAFD24D35}"/>
          </ac:spMkLst>
        </pc:spChg>
        <pc:spChg chg="add del mod">
          <ac:chgData name="Angela Khanali Mutsotso" userId="f2187219-0cf6-4017-8dcd-5e0007a16163" providerId="ADAL" clId="{5337204F-6A06-4668-9EC2-59FBFA6B0D79}" dt="2024-03-15T14:17:18.287" v="3932" actId="478"/>
          <ac:spMkLst>
            <pc:docMk/>
            <pc:sldMk cId="3982578145" sldId="2134806024"/>
            <ac:spMk id="25" creationId="{B9A71180-AA29-D309-015A-1F7CCCF98794}"/>
          </ac:spMkLst>
        </pc:spChg>
        <pc:spChg chg="add del mod">
          <ac:chgData name="Angela Khanali Mutsotso" userId="f2187219-0cf6-4017-8dcd-5e0007a16163" providerId="ADAL" clId="{5337204F-6A06-4668-9EC2-59FBFA6B0D79}" dt="2024-03-15T14:16:47.985" v="3929" actId="478"/>
          <ac:spMkLst>
            <pc:docMk/>
            <pc:sldMk cId="3982578145" sldId="2134806024"/>
            <ac:spMk id="26" creationId="{ABC42706-6874-221D-D399-03051F1835F6}"/>
          </ac:spMkLst>
        </pc:spChg>
        <pc:spChg chg="add del">
          <ac:chgData name="Angela Khanali Mutsotso" userId="f2187219-0cf6-4017-8dcd-5e0007a16163" providerId="ADAL" clId="{5337204F-6A06-4668-9EC2-59FBFA6B0D79}" dt="2024-03-15T14:17:52.765" v="3935" actId="478"/>
          <ac:spMkLst>
            <pc:docMk/>
            <pc:sldMk cId="3982578145" sldId="2134806024"/>
            <ac:spMk id="27" creationId="{2B14533E-6227-781E-4C5C-10198C69C7AA}"/>
          </ac:spMkLst>
        </pc:spChg>
        <pc:spChg chg="add mod">
          <ac:chgData name="Angela Khanali Mutsotso" userId="f2187219-0cf6-4017-8dcd-5e0007a16163" providerId="ADAL" clId="{5337204F-6A06-4668-9EC2-59FBFA6B0D79}" dt="2024-03-15T14:21:50.330" v="3966" actId="164"/>
          <ac:spMkLst>
            <pc:docMk/>
            <pc:sldMk cId="3982578145" sldId="2134806024"/>
            <ac:spMk id="28" creationId="{9A707D82-D42E-A249-1549-CBFC1E965243}"/>
          </ac:spMkLst>
        </pc:spChg>
        <pc:spChg chg="add del mod">
          <ac:chgData name="Angela Khanali Mutsotso" userId="f2187219-0cf6-4017-8dcd-5e0007a16163" providerId="ADAL" clId="{5337204F-6A06-4668-9EC2-59FBFA6B0D79}" dt="2024-03-15T14:20:52.127" v="3958" actId="478"/>
          <ac:spMkLst>
            <pc:docMk/>
            <pc:sldMk cId="3982578145" sldId="2134806024"/>
            <ac:spMk id="29" creationId="{1B03CDFA-B711-BFAE-6A1D-FBA070CA9A48}"/>
          </ac:spMkLst>
        </pc:spChg>
        <pc:spChg chg="add del mod">
          <ac:chgData name="Angela Khanali Mutsotso" userId="f2187219-0cf6-4017-8dcd-5e0007a16163" providerId="ADAL" clId="{5337204F-6A06-4668-9EC2-59FBFA6B0D79}" dt="2024-03-15T14:20:52.127" v="3960"/>
          <ac:spMkLst>
            <pc:docMk/>
            <pc:sldMk cId="3982578145" sldId="2134806024"/>
            <ac:spMk id="31" creationId="{9AA0CB4A-9F2E-3640-97B4-3A6BF5F3CFBD}"/>
          </ac:spMkLst>
        </pc:spChg>
        <pc:spChg chg="add mod">
          <ac:chgData name="Angela Khanali Mutsotso" userId="f2187219-0cf6-4017-8dcd-5e0007a16163" providerId="ADAL" clId="{5337204F-6A06-4668-9EC2-59FBFA6B0D79}" dt="2024-03-15T14:22:07.587" v="3980" actId="20577"/>
          <ac:spMkLst>
            <pc:docMk/>
            <pc:sldMk cId="3982578145" sldId="2134806024"/>
            <ac:spMk id="32" creationId="{2B9600C8-410A-F668-4994-294B9C0C334B}"/>
          </ac:spMkLst>
        </pc:spChg>
        <pc:spChg chg="mod">
          <ac:chgData name="Angela Khanali Mutsotso" userId="f2187219-0cf6-4017-8dcd-5e0007a16163" providerId="ADAL" clId="{5337204F-6A06-4668-9EC2-59FBFA6B0D79}" dt="2024-03-15T14:22:21.557" v="3982"/>
          <ac:spMkLst>
            <pc:docMk/>
            <pc:sldMk cId="3982578145" sldId="2134806024"/>
            <ac:spMk id="35" creationId="{801A316D-35C1-A81A-0549-26E4B2A5777F}"/>
          </ac:spMkLst>
        </pc:spChg>
        <pc:spChg chg="mod">
          <ac:chgData name="Angela Khanali Mutsotso" userId="f2187219-0cf6-4017-8dcd-5e0007a16163" providerId="ADAL" clId="{5337204F-6A06-4668-9EC2-59FBFA6B0D79}" dt="2024-03-15T14:22:21.557" v="3982"/>
          <ac:spMkLst>
            <pc:docMk/>
            <pc:sldMk cId="3982578145" sldId="2134806024"/>
            <ac:spMk id="36" creationId="{ACFCB0F2-2287-8056-645D-0104E69E25AA}"/>
          </ac:spMkLst>
        </pc:spChg>
        <pc:spChg chg="mod">
          <ac:chgData name="Angela Khanali Mutsotso" userId="f2187219-0cf6-4017-8dcd-5e0007a16163" providerId="ADAL" clId="{5337204F-6A06-4668-9EC2-59FBFA6B0D79}" dt="2024-03-15T14:22:30.440" v="3984"/>
          <ac:spMkLst>
            <pc:docMk/>
            <pc:sldMk cId="3982578145" sldId="2134806024"/>
            <ac:spMk id="38" creationId="{6DB94E02-9095-5968-11F4-55A8DF2B0CAC}"/>
          </ac:spMkLst>
        </pc:spChg>
        <pc:spChg chg="mod">
          <ac:chgData name="Angela Khanali Mutsotso" userId="f2187219-0cf6-4017-8dcd-5e0007a16163" providerId="ADAL" clId="{5337204F-6A06-4668-9EC2-59FBFA6B0D79}" dt="2024-03-15T14:22:30.440" v="3984"/>
          <ac:spMkLst>
            <pc:docMk/>
            <pc:sldMk cId="3982578145" sldId="2134806024"/>
            <ac:spMk id="39" creationId="{D491E478-519A-8E09-05C5-488136BC8CDC}"/>
          </ac:spMkLst>
        </pc:spChg>
        <pc:spChg chg="mod">
          <ac:chgData name="Angela Khanali Mutsotso" userId="f2187219-0cf6-4017-8dcd-5e0007a16163" providerId="ADAL" clId="{5337204F-6A06-4668-9EC2-59FBFA6B0D79}" dt="2024-03-15T14:24:04.992" v="3987"/>
          <ac:spMkLst>
            <pc:docMk/>
            <pc:sldMk cId="3982578145" sldId="2134806024"/>
            <ac:spMk id="41" creationId="{1D42141E-481A-6114-8196-57DFBBBD04C8}"/>
          </ac:spMkLst>
        </pc:spChg>
        <pc:spChg chg="mod">
          <ac:chgData name="Angela Khanali Mutsotso" userId="f2187219-0cf6-4017-8dcd-5e0007a16163" providerId="ADAL" clId="{5337204F-6A06-4668-9EC2-59FBFA6B0D79}" dt="2024-03-15T14:24:04.992" v="3987"/>
          <ac:spMkLst>
            <pc:docMk/>
            <pc:sldMk cId="3982578145" sldId="2134806024"/>
            <ac:spMk id="42" creationId="{55D22D04-C1EC-8A1B-9E3E-D2AFFDBAE110}"/>
          </ac:spMkLst>
        </pc:spChg>
        <pc:spChg chg="add mod">
          <ac:chgData name="Angela Khanali Mutsotso" userId="f2187219-0cf6-4017-8dcd-5e0007a16163" providerId="ADAL" clId="{5337204F-6A06-4668-9EC2-59FBFA6B0D79}" dt="2024-03-15T14:26:21.539" v="4000" actId="164"/>
          <ac:spMkLst>
            <pc:docMk/>
            <pc:sldMk cId="3982578145" sldId="2134806024"/>
            <ac:spMk id="43" creationId="{496167C8-7D68-1EB6-A5B5-B5080A2E4E12}"/>
          </ac:spMkLst>
        </pc:spChg>
        <pc:spChg chg="add del">
          <ac:chgData name="Angela Khanali Mutsotso" userId="f2187219-0cf6-4017-8dcd-5e0007a16163" providerId="ADAL" clId="{5337204F-6A06-4668-9EC2-59FBFA6B0D79}" dt="2024-03-15T14:25:28.683" v="3993" actId="478"/>
          <ac:spMkLst>
            <pc:docMk/>
            <pc:sldMk cId="3982578145" sldId="2134806024"/>
            <ac:spMk id="44" creationId="{7C829FA8-7319-9209-F1BA-E4FA84070E05}"/>
          </ac:spMkLst>
        </pc:spChg>
        <pc:spChg chg="add mod">
          <ac:chgData name="Angela Khanali Mutsotso" userId="f2187219-0cf6-4017-8dcd-5e0007a16163" providerId="ADAL" clId="{5337204F-6A06-4668-9EC2-59FBFA6B0D79}" dt="2024-03-15T14:26:21.539" v="4000" actId="164"/>
          <ac:spMkLst>
            <pc:docMk/>
            <pc:sldMk cId="3982578145" sldId="2134806024"/>
            <ac:spMk id="45" creationId="{C642A75A-3250-BC33-5184-C5E8CE6BD43D}"/>
          </ac:spMkLst>
        </pc:spChg>
        <pc:spChg chg="mod">
          <ac:chgData name="Angela Khanali Mutsotso" userId="f2187219-0cf6-4017-8dcd-5e0007a16163" providerId="ADAL" clId="{5337204F-6A06-4668-9EC2-59FBFA6B0D79}" dt="2024-03-15T14:26:25.382" v="4001"/>
          <ac:spMkLst>
            <pc:docMk/>
            <pc:sldMk cId="3982578145" sldId="2134806024"/>
            <ac:spMk id="48" creationId="{82F7D383-D7DF-A56E-61E8-9440CA8957EF}"/>
          </ac:spMkLst>
        </pc:spChg>
        <pc:spChg chg="mod">
          <ac:chgData name="Angela Khanali Mutsotso" userId="f2187219-0cf6-4017-8dcd-5e0007a16163" providerId="ADAL" clId="{5337204F-6A06-4668-9EC2-59FBFA6B0D79}" dt="2024-03-15T14:26:25.382" v="4001"/>
          <ac:spMkLst>
            <pc:docMk/>
            <pc:sldMk cId="3982578145" sldId="2134806024"/>
            <ac:spMk id="49" creationId="{FD274C14-E2B5-C532-7BD2-A0D827136223}"/>
          </ac:spMkLst>
        </pc:spChg>
        <pc:spChg chg="add mod">
          <ac:chgData name="Angela Khanali Mutsotso" userId="f2187219-0cf6-4017-8dcd-5e0007a16163" providerId="ADAL" clId="{5337204F-6A06-4668-9EC2-59FBFA6B0D79}" dt="2024-03-15T14:28:54.750" v="4019" actId="164"/>
          <ac:spMkLst>
            <pc:docMk/>
            <pc:sldMk cId="3982578145" sldId="2134806024"/>
            <ac:spMk id="50" creationId="{FA5D0E27-D7CD-E150-A545-25AFD17EB0FD}"/>
          </ac:spMkLst>
        </pc:spChg>
        <pc:spChg chg="add mod">
          <ac:chgData name="Angela Khanali Mutsotso" userId="f2187219-0cf6-4017-8dcd-5e0007a16163" providerId="ADAL" clId="{5337204F-6A06-4668-9EC2-59FBFA6B0D79}" dt="2024-03-15T14:28:54.750" v="4019" actId="164"/>
          <ac:spMkLst>
            <pc:docMk/>
            <pc:sldMk cId="3982578145" sldId="2134806024"/>
            <ac:spMk id="51" creationId="{BE8BE1E0-4986-C229-A2DF-E79A2752E53E}"/>
          </ac:spMkLst>
        </pc:spChg>
        <pc:spChg chg="mod">
          <ac:chgData name="Angela Khanali Mutsotso" userId="f2187219-0cf6-4017-8dcd-5e0007a16163" providerId="ADAL" clId="{5337204F-6A06-4668-9EC2-59FBFA6B0D79}" dt="2024-03-15T14:29:38.595" v="4020"/>
          <ac:spMkLst>
            <pc:docMk/>
            <pc:sldMk cId="3982578145" sldId="2134806024"/>
            <ac:spMk id="54" creationId="{A5BAA21A-C1F5-ECE6-CB61-E167E4E3DCF2}"/>
          </ac:spMkLst>
        </pc:spChg>
        <pc:spChg chg="mod">
          <ac:chgData name="Angela Khanali Mutsotso" userId="f2187219-0cf6-4017-8dcd-5e0007a16163" providerId="ADAL" clId="{5337204F-6A06-4668-9EC2-59FBFA6B0D79}" dt="2024-03-15T14:29:38.595" v="4020"/>
          <ac:spMkLst>
            <pc:docMk/>
            <pc:sldMk cId="3982578145" sldId="2134806024"/>
            <ac:spMk id="55" creationId="{9728004E-5A31-4B1C-7846-CC77E59E6458}"/>
          </ac:spMkLst>
        </pc:spChg>
        <pc:spChg chg="mod">
          <ac:chgData name="Angela Khanali Mutsotso" userId="f2187219-0cf6-4017-8dcd-5e0007a16163" providerId="ADAL" clId="{5337204F-6A06-4668-9EC2-59FBFA6B0D79}" dt="2024-03-15T14:30:27.299" v="4024"/>
          <ac:spMkLst>
            <pc:docMk/>
            <pc:sldMk cId="3982578145" sldId="2134806024"/>
            <ac:spMk id="57" creationId="{8AAD6549-A99F-A5AE-94DF-28152134684E}"/>
          </ac:spMkLst>
        </pc:spChg>
        <pc:spChg chg="mod">
          <ac:chgData name="Angela Khanali Mutsotso" userId="f2187219-0cf6-4017-8dcd-5e0007a16163" providerId="ADAL" clId="{5337204F-6A06-4668-9EC2-59FBFA6B0D79}" dt="2024-03-15T14:30:27.299" v="4024"/>
          <ac:spMkLst>
            <pc:docMk/>
            <pc:sldMk cId="3982578145" sldId="2134806024"/>
            <ac:spMk id="58" creationId="{3D29AF02-C379-327F-7F25-6A3C9B4A4E6C}"/>
          </ac:spMkLst>
        </pc:spChg>
        <pc:spChg chg="add mod">
          <ac:chgData name="Angela Khanali Mutsotso" userId="f2187219-0cf6-4017-8dcd-5e0007a16163" providerId="ADAL" clId="{5337204F-6A06-4668-9EC2-59FBFA6B0D79}" dt="2024-03-15T14:32:23.224" v="4031" actId="2085"/>
          <ac:spMkLst>
            <pc:docMk/>
            <pc:sldMk cId="3982578145" sldId="2134806024"/>
            <ac:spMk id="59" creationId="{4837A2E5-F273-C35E-B2BE-6778E3E42BDC}"/>
          </ac:spMkLst>
        </pc:spChg>
        <pc:spChg chg="add mod">
          <ac:chgData name="Angela Khanali Mutsotso" userId="f2187219-0cf6-4017-8dcd-5e0007a16163" providerId="ADAL" clId="{5337204F-6A06-4668-9EC2-59FBFA6B0D79}" dt="2024-03-15T14:32:17.593" v="4029" actId="207"/>
          <ac:spMkLst>
            <pc:docMk/>
            <pc:sldMk cId="3982578145" sldId="2134806024"/>
            <ac:spMk id="60" creationId="{3E33C998-299E-6805-BE46-860B46799A36}"/>
          </ac:spMkLst>
        </pc:spChg>
        <pc:grpChg chg="add mod">
          <ac:chgData name="Angela Khanali Mutsotso" userId="f2187219-0cf6-4017-8dcd-5e0007a16163" providerId="ADAL" clId="{5337204F-6A06-4668-9EC2-59FBFA6B0D79}" dt="2024-03-15T14:20:27.045" v="3954" actId="164"/>
          <ac:grpSpMkLst>
            <pc:docMk/>
            <pc:sldMk cId="3982578145" sldId="2134806024"/>
            <ac:grpSpMk id="30" creationId="{768C6B3A-1FA8-F14C-E57D-576CB8C216CB}"/>
          </ac:grpSpMkLst>
        </pc:grpChg>
        <pc:grpChg chg="add mod">
          <ac:chgData name="Angela Khanali Mutsotso" userId="f2187219-0cf6-4017-8dcd-5e0007a16163" providerId="ADAL" clId="{5337204F-6A06-4668-9EC2-59FBFA6B0D79}" dt="2024-03-15T14:21:50.330" v="3966" actId="164"/>
          <ac:grpSpMkLst>
            <pc:docMk/>
            <pc:sldMk cId="3982578145" sldId="2134806024"/>
            <ac:grpSpMk id="33" creationId="{D929DF55-7F2C-3FC7-BE32-CC8CABFCA60B}"/>
          </ac:grpSpMkLst>
        </pc:grpChg>
        <pc:grpChg chg="add mod">
          <ac:chgData name="Angela Khanali Mutsotso" userId="f2187219-0cf6-4017-8dcd-5e0007a16163" providerId="ADAL" clId="{5337204F-6A06-4668-9EC2-59FBFA6B0D79}" dt="2024-03-15T14:22:26.266" v="3983" actId="1076"/>
          <ac:grpSpMkLst>
            <pc:docMk/>
            <pc:sldMk cId="3982578145" sldId="2134806024"/>
            <ac:grpSpMk id="34" creationId="{0BE0959A-2D93-74D4-1CA3-082EAC48E16D}"/>
          </ac:grpSpMkLst>
        </pc:grpChg>
        <pc:grpChg chg="add mod">
          <ac:chgData name="Angela Khanali Mutsotso" userId="f2187219-0cf6-4017-8dcd-5e0007a16163" providerId="ADAL" clId="{5337204F-6A06-4668-9EC2-59FBFA6B0D79}" dt="2024-03-15T14:24:00.676" v="3986" actId="1076"/>
          <ac:grpSpMkLst>
            <pc:docMk/>
            <pc:sldMk cId="3982578145" sldId="2134806024"/>
            <ac:grpSpMk id="37" creationId="{1501DB4B-2D3F-DB25-1B14-A007EB784BAE}"/>
          </ac:grpSpMkLst>
        </pc:grpChg>
        <pc:grpChg chg="add mod">
          <ac:chgData name="Angela Khanali Mutsotso" userId="f2187219-0cf6-4017-8dcd-5e0007a16163" providerId="ADAL" clId="{5337204F-6A06-4668-9EC2-59FBFA6B0D79}" dt="2024-03-15T14:24:04.992" v="3987"/>
          <ac:grpSpMkLst>
            <pc:docMk/>
            <pc:sldMk cId="3982578145" sldId="2134806024"/>
            <ac:grpSpMk id="40" creationId="{F0EA34BF-69E3-7E0F-6BD0-1876221BEF88}"/>
          </ac:grpSpMkLst>
        </pc:grpChg>
        <pc:grpChg chg="add mod">
          <ac:chgData name="Angela Khanali Mutsotso" userId="f2187219-0cf6-4017-8dcd-5e0007a16163" providerId="ADAL" clId="{5337204F-6A06-4668-9EC2-59FBFA6B0D79}" dt="2024-03-15T14:26:56.461" v="4006" actId="14100"/>
          <ac:grpSpMkLst>
            <pc:docMk/>
            <pc:sldMk cId="3982578145" sldId="2134806024"/>
            <ac:grpSpMk id="46" creationId="{38D3F7FF-81D9-E3DA-7F60-F29A5CF707F6}"/>
          </ac:grpSpMkLst>
        </pc:grpChg>
        <pc:grpChg chg="add mod">
          <ac:chgData name="Angela Khanali Mutsotso" userId="f2187219-0cf6-4017-8dcd-5e0007a16163" providerId="ADAL" clId="{5337204F-6A06-4668-9EC2-59FBFA6B0D79}" dt="2024-03-15T14:27:07.656" v="4009" actId="14100"/>
          <ac:grpSpMkLst>
            <pc:docMk/>
            <pc:sldMk cId="3982578145" sldId="2134806024"/>
            <ac:grpSpMk id="47" creationId="{47E4F0DB-0806-CDD1-34D1-CB624390DE25}"/>
          </ac:grpSpMkLst>
        </pc:grpChg>
        <pc:grpChg chg="add mod">
          <ac:chgData name="Angela Khanali Mutsotso" userId="f2187219-0cf6-4017-8dcd-5e0007a16163" providerId="ADAL" clId="{5337204F-6A06-4668-9EC2-59FBFA6B0D79}" dt="2024-03-15T14:29:54.152" v="4023" actId="14100"/>
          <ac:grpSpMkLst>
            <pc:docMk/>
            <pc:sldMk cId="3982578145" sldId="2134806024"/>
            <ac:grpSpMk id="52" creationId="{805456A4-D1DD-EC36-2645-9C14047C2981}"/>
          </ac:grpSpMkLst>
        </pc:grpChg>
        <pc:grpChg chg="add mod">
          <ac:chgData name="Angela Khanali Mutsotso" userId="f2187219-0cf6-4017-8dcd-5e0007a16163" providerId="ADAL" clId="{5337204F-6A06-4668-9EC2-59FBFA6B0D79}" dt="2024-03-15T14:29:44.959" v="4022" actId="14100"/>
          <ac:grpSpMkLst>
            <pc:docMk/>
            <pc:sldMk cId="3982578145" sldId="2134806024"/>
            <ac:grpSpMk id="53" creationId="{D17C10E7-605D-8B67-A8B9-2DF1CE184F51}"/>
          </ac:grpSpMkLst>
        </pc:grpChg>
        <pc:grpChg chg="add mod">
          <ac:chgData name="Angela Khanali Mutsotso" userId="f2187219-0cf6-4017-8dcd-5e0007a16163" providerId="ADAL" clId="{5337204F-6A06-4668-9EC2-59FBFA6B0D79}" dt="2024-03-15T14:30:34.893" v="4025" actId="1076"/>
          <ac:grpSpMkLst>
            <pc:docMk/>
            <pc:sldMk cId="3982578145" sldId="2134806024"/>
            <ac:grpSpMk id="56" creationId="{5403A232-7729-9997-6EC2-E8568BE3F444}"/>
          </ac:grpSpMkLst>
        </pc:grpChg>
        <pc:picChg chg="del">
          <ac:chgData name="Angela Khanali Mutsotso" userId="f2187219-0cf6-4017-8dcd-5e0007a16163" providerId="ADAL" clId="{5337204F-6A06-4668-9EC2-59FBFA6B0D79}" dt="2024-03-15T14:06:58.307" v="3871" actId="478"/>
          <ac:picMkLst>
            <pc:docMk/>
            <pc:sldMk cId="3982578145" sldId="2134806024"/>
            <ac:picMk id="5" creationId="{CE3EC72D-0117-366A-408D-8607B8E9F531}"/>
          </ac:picMkLst>
        </pc:picChg>
        <pc:picChg chg="del">
          <ac:chgData name="Angela Khanali Mutsotso" userId="f2187219-0cf6-4017-8dcd-5e0007a16163" providerId="ADAL" clId="{5337204F-6A06-4668-9EC2-59FBFA6B0D79}" dt="2024-03-15T14:06:58.307" v="3871" actId="478"/>
          <ac:picMkLst>
            <pc:docMk/>
            <pc:sldMk cId="3982578145" sldId="2134806024"/>
            <ac:picMk id="6" creationId="{5FF01268-9987-23EC-96A4-D3D099B0AA72}"/>
          </ac:picMkLst>
        </pc:picChg>
        <pc:picChg chg="del">
          <ac:chgData name="Angela Khanali Mutsotso" userId="f2187219-0cf6-4017-8dcd-5e0007a16163" providerId="ADAL" clId="{5337204F-6A06-4668-9EC2-59FBFA6B0D79}" dt="2024-03-15T14:06:58.307" v="3871" actId="478"/>
          <ac:picMkLst>
            <pc:docMk/>
            <pc:sldMk cId="3982578145" sldId="2134806024"/>
            <ac:picMk id="7" creationId="{5961B35D-02FC-5BCB-8AFB-05BDF6C08BDD}"/>
          </ac:picMkLst>
        </pc:picChg>
        <pc:picChg chg="del">
          <ac:chgData name="Angela Khanali Mutsotso" userId="f2187219-0cf6-4017-8dcd-5e0007a16163" providerId="ADAL" clId="{5337204F-6A06-4668-9EC2-59FBFA6B0D79}" dt="2024-03-15T14:06:58.307" v="3871" actId="478"/>
          <ac:picMkLst>
            <pc:docMk/>
            <pc:sldMk cId="3982578145" sldId="2134806024"/>
            <ac:picMk id="8" creationId="{143F3F29-69B2-B94C-3504-27C0628F90A0}"/>
          </ac:picMkLst>
        </pc:picChg>
        <pc:picChg chg="del">
          <ac:chgData name="Angela Khanali Mutsotso" userId="f2187219-0cf6-4017-8dcd-5e0007a16163" providerId="ADAL" clId="{5337204F-6A06-4668-9EC2-59FBFA6B0D79}" dt="2024-03-15T14:07:07.382" v="3872" actId="478"/>
          <ac:picMkLst>
            <pc:docMk/>
            <pc:sldMk cId="3982578145" sldId="2134806024"/>
            <ac:picMk id="9" creationId="{A5B873C8-E54D-704F-5AFD-03B0DE27BD85}"/>
          </ac:picMkLst>
        </pc:picChg>
        <pc:picChg chg="del">
          <ac:chgData name="Angela Khanali Mutsotso" userId="f2187219-0cf6-4017-8dcd-5e0007a16163" providerId="ADAL" clId="{5337204F-6A06-4668-9EC2-59FBFA6B0D79}" dt="2024-03-15T14:06:58.307" v="3871" actId="478"/>
          <ac:picMkLst>
            <pc:docMk/>
            <pc:sldMk cId="3982578145" sldId="2134806024"/>
            <ac:picMk id="18" creationId="{B0007653-A38C-0664-89C7-62AA6DC32060}"/>
          </ac:picMkLst>
        </pc:picChg>
        <pc:picChg chg="del">
          <ac:chgData name="Angela Khanali Mutsotso" userId="f2187219-0cf6-4017-8dcd-5e0007a16163" providerId="ADAL" clId="{5337204F-6A06-4668-9EC2-59FBFA6B0D79}" dt="2024-03-15T14:06:58.307" v="3871" actId="478"/>
          <ac:picMkLst>
            <pc:docMk/>
            <pc:sldMk cId="3982578145" sldId="2134806024"/>
            <ac:picMk id="20" creationId="{CFD4EABF-FC4F-E7E0-523A-C1C90CDF1C93}"/>
          </ac:picMkLst>
        </pc:picChg>
        <pc:picChg chg="add mod">
          <ac:chgData name="Angela Khanali Mutsotso" userId="f2187219-0cf6-4017-8dcd-5e0007a16163" providerId="ADAL" clId="{5337204F-6A06-4668-9EC2-59FBFA6B0D79}" dt="2024-03-15T14:18:25.276" v="3937" actId="1076"/>
          <ac:picMkLst>
            <pc:docMk/>
            <pc:sldMk cId="3982578145" sldId="2134806024"/>
            <ac:picMk id="1026" creationId="{603D6CEE-DAB5-0C29-DF87-39034FA8AEA4}"/>
          </ac:picMkLst>
        </pc:picChg>
      </pc:sldChg>
      <pc:sldChg chg="addSp delSp modSp add del mod">
        <pc:chgData name="Angela Khanali Mutsotso" userId="f2187219-0cf6-4017-8dcd-5e0007a16163" providerId="ADAL" clId="{5337204F-6A06-4668-9EC2-59FBFA6B0D79}" dt="2024-03-15T15:13:10.877" v="5128" actId="47"/>
        <pc:sldMkLst>
          <pc:docMk/>
          <pc:sldMk cId="3429369951" sldId="2134806025"/>
        </pc:sldMkLst>
        <pc:spChg chg="mod topLvl">
          <ac:chgData name="Angela Khanali Mutsotso" userId="f2187219-0cf6-4017-8dcd-5e0007a16163" providerId="ADAL" clId="{5337204F-6A06-4668-9EC2-59FBFA6B0D79}" dt="2024-03-15T14:34:14.789" v="4046" actId="164"/>
          <ac:spMkLst>
            <pc:docMk/>
            <pc:sldMk cId="3429369951" sldId="2134806025"/>
            <ac:spMk id="50" creationId="{FA5D0E27-D7CD-E150-A545-25AFD17EB0FD}"/>
          </ac:spMkLst>
        </pc:spChg>
        <pc:spChg chg="mod topLvl">
          <ac:chgData name="Angela Khanali Mutsotso" userId="f2187219-0cf6-4017-8dcd-5e0007a16163" providerId="ADAL" clId="{5337204F-6A06-4668-9EC2-59FBFA6B0D79}" dt="2024-03-15T14:34:14.789" v="4046" actId="164"/>
          <ac:spMkLst>
            <pc:docMk/>
            <pc:sldMk cId="3429369951" sldId="2134806025"/>
            <ac:spMk id="51" creationId="{BE8BE1E0-4986-C229-A2DF-E79A2752E53E}"/>
          </ac:spMkLst>
        </pc:spChg>
        <pc:spChg chg="del">
          <ac:chgData name="Angela Khanali Mutsotso" userId="f2187219-0cf6-4017-8dcd-5e0007a16163" providerId="ADAL" clId="{5337204F-6A06-4668-9EC2-59FBFA6B0D79}" dt="2024-03-15T14:33:26.012" v="4040" actId="478"/>
          <ac:spMkLst>
            <pc:docMk/>
            <pc:sldMk cId="3429369951" sldId="2134806025"/>
            <ac:spMk id="59" creationId="{4837A2E5-F273-C35E-B2BE-6778E3E42BDC}"/>
          </ac:spMkLst>
        </pc:spChg>
        <pc:spChg chg="del">
          <ac:chgData name="Angela Khanali Mutsotso" userId="f2187219-0cf6-4017-8dcd-5e0007a16163" providerId="ADAL" clId="{5337204F-6A06-4668-9EC2-59FBFA6B0D79}" dt="2024-03-15T14:33:19.100" v="4038" actId="478"/>
          <ac:spMkLst>
            <pc:docMk/>
            <pc:sldMk cId="3429369951" sldId="2134806025"/>
            <ac:spMk id="60" creationId="{3E33C998-299E-6805-BE46-860B46799A36}"/>
          </ac:spMkLst>
        </pc:spChg>
        <pc:grpChg chg="add mod">
          <ac:chgData name="Angela Khanali Mutsotso" userId="f2187219-0cf6-4017-8dcd-5e0007a16163" providerId="ADAL" clId="{5337204F-6A06-4668-9EC2-59FBFA6B0D79}" dt="2024-03-15T14:34:14.789" v="4046" actId="164"/>
          <ac:grpSpMkLst>
            <pc:docMk/>
            <pc:sldMk cId="3429369951" sldId="2134806025"/>
            <ac:grpSpMk id="5" creationId="{DED35B12-1B36-C62A-6227-95D6186F1847}"/>
          </ac:grpSpMkLst>
        </pc:grpChg>
        <pc:grpChg chg="del">
          <ac:chgData name="Angela Khanali Mutsotso" userId="f2187219-0cf6-4017-8dcd-5e0007a16163" providerId="ADAL" clId="{5337204F-6A06-4668-9EC2-59FBFA6B0D79}" dt="2024-03-15T14:33:12.132" v="4037" actId="478"/>
          <ac:grpSpMkLst>
            <pc:docMk/>
            <pc:sldMk cId="3429369951" sldId="2134806025"/>
            <ac:grpSpMk id="37" creationId="{1501DB4B-2D3F-DB25-1B14-A007EB784BAE}"/>
          </ac:grpSpMkLst>
        </pc:grpChg>
        <pc:grpChg chg="del">
          <ac:chgData name="Angela Khanali Mutsotso" userId="f2187219-0cf6-4017-8dcd-5e0007a16163" providerId="ADAL" clId="{5337204F-6A06-4668-9EC2-59FBFA6B0D79}" dt="2024-03-15T14:33:21.473" v="4039" actId="478"/>
          <ac:grpSpMkLst>
            <pc:docMk/>
            <pc:sldMk cId="3429369951" sldId="2134806025"/>
            <ac:grpSpMk id="46" creationId="{38D3F7FF-81D9-E3DA-7F60-F29A5CF707F6}"/>
          </ac:grpSpMkLst>
        </pc:grpChg>
        <pc:grpChg chg="del mod">
          <ac:chgData name="Angela Khanali Mutsotso" userId="f2187219-0cf6-4017-8dcd-5e0007a16163" providerId="ADAL" clId="{5337204F-6A06-4668-9EC2-59FBFA6B0D79}" dt="2024-03-15T14:33:38.067" v="4042" actId="165"/>
          <ac:grpSpMkLst>
            <pc:docMk/>
            <pc:sldMk cId="3429369951" sldId="2134806025"/>
            <ac:grpSpMk id="52" creationId="{805456A4-D1DD-EC36-2645-9C14047C2981}"/>
          </ac:grpSpMkLst>
        </pc:grpChg>
        <pc:grpChg chg="del">
          <ac:chgData name="Angela Khanali Mutsotso" userId="f2187219-0cf6-4017-8dcd-5e0007a16163" providerId="ADAL" clId="{5337204F-6A06-4668-9EC2-59FBFA6B0D79}" dt="2024-03-15T14:33:04.913" v="4036" actId="478"/>
          <ac:grpSpMkLst>
            <pc:docMk/>
            <pc:sldMk cId="3429369951" sldId="2134806025"/>
            <ac:grpSpMk id="53" creationId="{D17C10E7-605D-8B67-A8B9-2DF1CE184F51}"/>
          </ac:grpSpMkLst>
        </pc:grpChg>
      </pc:sldChg>
      <pc:sldChg chg="add del">
        <pc:chgData name="Angela Khanali Mutsotso" userId="f2187219-0cf6-4017-8dcd-5e0007a16163" providerId="ADAL" clId="{5337204F-6A06-4668-9EC2-59FBFA6B0D79}" dt="2024-03-15T15:36:54.461" v="6479" actId="47"/>
        <pc:sldMkLst>
          <pc:docMk/>
          <pc:sldMk cId="1872198928" sldId="2134806026"/>
        </pc:sldMkLst>
      </pc:sldChg>
      <pc:sldChg chg="addSp delSp modSp add mod modNotesTx">
        <pc:chgData name="Angela Khanali Mutsotso" userId="f2187219-0cf6-4017-8dcd-5e0007a16163" providerId="ADAL" clId="{5337204F-6A06-4668-9EC2-59FBFA6B0D79}" dt="2024-03-15T15:13:01.292" v="5124" actId="6549"/>
        <pc:sldMkLst>
          <pc:docMk/>
          <pc:sldMk cId="3561396985" sldId="2134806027"/>
        </pc:sldMkLst>
        <pc:spChg chg="del mod">
          <ac:chgData name="Angela Khanali Mutsotso" userId="f2187219-0cf6-4017-8dcd-5e0007a16163" providerId="ADAL" clId="{5337204F-6A06-4668-9EC2-59FBFA6B0D79}" dt="2024-03-15T15:06:38.391" v="5001" actId="478"/>
          <ac:spMkLst>
            <pc:docMk/>
            <pc:sldMk cId="3561396985" sldId="2134806027"/>
            <ac:spMk id="4" creationId="{E614ECFF-D44B-451B-FF0C-432D15F2788F}"/>
          </ac:spMkLst>
        </pc:spChg>
        <pc:spChg chg="add mod">
          <ac:chgData name="Angela Khanali Mutsotso" userId="f2187219-0cf6-4017-8dcd-5e0007a16163" providerId="ADAL" clId="{5337204F-6A06-4668-9EC2-59FBFA6B0D79}" dt="2024-03-15T15:06:49.859" v="5003" actId="1076"/>
          <ac:spMkLst>
            <pc:docMk/>
            <pc:sldMk cId="3561396985" sldId="2134806027"/>
            <ac:spMk id="10" creationId="{A409148D-B021-1483-CE2F-58A31CB73185}"/>
          </ac:spMkLst>
        </pc:spChg>
        <pc:spChg chg="mod">
          <ac:chgData name="Angela Khanali Mutsotso" userId="f2187219-0cf6-4017-8dcd-5e0007a16163" providerId="ADAL" clId="{5337204F-6A06-4668-9EC2-59FBFA6B0D79}" dt="2024-03-15T15:06:49.859" v="5003" actId="1076"/>
          <ac:spMkLst>
            <pc:docMk/>
            <pc:sldMk cId="3561396985" sldId="2134806027"/>
            <ac:spMk id="12" creationId="{37BCB463-783A-ACC1-90DD-BCB1D4FE7685}"/>
          </ac:spMkLst>
        </pc:spChg>
        <pc:spChg chg="mod">
          <ac:chgData name="Angela Khanali Mutsotso" userId="f2187219-0cf6-4017-8dcd-5e0007a16163" providerId="ADAL" clId="{5337204F-6A06-4668-9EC2-59FBFA6B0D79}" dt="2024-03-15T15:06:49.859" v="5003" actId="1076"/>
          <ac:spMkLst>
            <pc:docMk/>
            <pc:sldMk cId="3561396985" sldId="2134806027"/>
            <ac:spMk id="13" creationId="{E1D92190-BA8A-36C9-EA87-04DFFFF500DF}"/>
          </ac:spMkLst>
        </pc:spChg>
        <pc:spChg chg="mod">
          <ac:chgData name="Angela Khanali Mutsotso" userId="f2187219-0cf6-4017-8dcd-5e0007a16163" providerId="ADAL" clId="{5337204F-6A06-4668-9EC2-59FBFA6B0D79}" dt="2024-03-15T15:06:49.859" v="5003" actId="1076"/>
          <ac:spMkLst>
            <pc:docMk/>
            <pc:sldMk cId="3561396985" sldId="2134806027"/>
            <ac:spMk id="14" creationId="{15537AD1-A4AF-8671-E32F-748B5C7B0BF7}"/>
          </ac:spMkLst>
        </pc:spChg>
        <pc:spChg chg="mod">
          <ac:chgData name="Angela Khanali Mutsotso" userId="f2187219-0cf6-4017-8dcd-5e0007a16163" providerId="ADAL" clId="{5337204F-6A06-4668-9EC2-59FBFA6B0D79}" dt="2024-03-15T15:06:49.859" v="5003" actId="1076"/>
          <ac:spMkLst>
            <pc:docMk/>
            <pc:sldMk cId="3561396985" sldId="2134806027"/>
            <ac:spMk id="15" creationId="{A5C8D2A9-ECCC-ECC9-8661-1D8CD6AE47CA}"/>
          </ac:spMkLst>
        </pc:spChg>
        <pc:spChg chg="mod">
          <ac:chgData name="Angela Khanali Mutsotso" userId="f2187219-0cf6-4017-8dcd-5e0007a16163" providerId="ADAL" clId="{5337204F-6A06-4668-9EC2-59FBFA6B0D79}" dt="2024-03-15T15:06:49.859" v="5003" actId="1076"/>
          <ac:spMkLst>
            <pc:docMk/>
            <pc:sldMk cId="3561396985" sldId="2134806027"/>
            <ac:spMk id="16" creationId="{70137A00-3A4D-9707-7429-FC6F08446B9B}"/>
          </ac:spMkLst>
        </pc:spChg>
        <pc:spChg chg="mod">
          <ac:chgData name="Angela Khanali Mutsotso" userId="f2187219-0cf6-4017-8dcd-5e0007a16163" providerId="ADAL" clId="{5337204F-6A06-4668-9EC2-59FBFA6B0D79}" dt="2024-03-15T15:10:59.151" v="5017" actId="207"/>
          <ac:spMkLst>
            <pc:docMk/>
            <pc:sldMk cId="3561396985" sldId="2134806027"/>
            <ac:spMk id="28" creationId="{9A707D82-D42E-A249-1549-CBFC1E965243}"/>
          </ac:spMkLst>
        </pc:spChg>
        <pc:spChg chg="mod">
          <ac:chgData name="Angela Khanali Mutsotso" userId="f2187219-0cf6-4017-8dcd-5e0007a16163" providerId="ADAL" clId="{5337204F-6A06-4668-9EC2-59FBFA6B0D79}" dt="2024-03-15T15:12:13.314" v="5029" actId="207"/>
          <ac:spMkLst>
            <pc:docMk/>
            <pc:sldMk cId="3561396985" sldId="2134806027"/>
            <ac:spMk id="32" creationId="{2B9600C8-410A-F668-4994-294B9C0C334B}"/>
          </ac:spMkLst>
        </pc:spChg>
        <pc:spChg chg="mod">
          <ac:chgData name="Angela Khanali Mutsotso" userId="f2187219-0cf6-4017-8dcd-5e0007a16163" providerId="ADAL" clId="{5337204F-6A06-4668-9EC2-59FBFA6B0D79}" dt="2024-03-15T15:10:48.758" v="5016" actId="207"/>
          <ac:spMkLst>
            <pc:docMk/>
            <pc:sldMk cId="3561396985" sldId="2134806027"/>
            <ac:spMk id="35" creationId="{801A316D-35C1-A81A-0549-26E4B2A5777F}"/>
          </ac:spMkLst>
        </pc:spChg>
        <pc:spChg chg="mod">
          <ac:chgData name="Angela Khanali Mutsotso" userId="f2187219-0cf6-4017-8dcd-5e0007a16163" providerId="ADAL" clId="{5337204F-6A06-4668-9EC2-59FBFA6B0D79}" dt="2024-03-15T15:12:09.396" v="5028" actId="207"/>
          <ac:spMkLst>
            <pc:docMk/>
            <pc:sldMk cId="3561396985" sldId="2134806027"/>
            <ac:spMk id="36" creationId="{ACFCB0F2-2287-8056-645D-0104E69E25AA}"/>
          </ac:spMkLst>
        </pc:spChg>
        <pc:spChg chg="mod topLvl">
          <ac:chgData name="Angela Khanali Mutsotso" userId="f2187219-0cf6-4017-8dcd-5e0007a16163" providerId="ADAL" clId="{5337204F-6A06-4668-9EC2-59FBFA6B0D79}" dt="2024-03-15T15:11:04.367" v="5018" actId="207"/>
          <ac:spMkLst>
            <pc:docMk/>
            <pc:sldMk cId="3561396985" sldId="2134806027"/>
            <ac:spMk id="48" creationId="{82F7D383-D7DF-A56E-61E8-9440CA8957EF}"/>
          </ac:spMkLst>
        </pc:spChg>
        <pc:spChg chg="mod topLvl">
          <ac:chgData name="Angela Khanali Mutsotso" userId="f2187219-0cf6-4017-8dcd-5e0007a16163" providerId="ADAL" clId="{5337204F-6A06-4668-9EC2-59FBFA6B0D79}" dt="2024-03-15T15:12:04.311" v="5027" actId="207"/>
          <ac:spMkLst>
            <pc:docMk/>
            <pc:sldMk cId="3561396985" sldId="2134806027"/>
            <ac:spMk id="49" creationId="{FD274C14-E2B5-C532-7BD2-A0D827136223}"/>
          </ac:spMkLst>
        </pc:spChg>
        <pc:spChg chg="mod topLvl">
          <ac:chgData name="Angela Khanali Mutsotso" userId="f2187219-0cf6-4017-8dcd-5e0007a16163" providerId="ADAL" clId="{5337204F-6A06-4668-9EC2-59FBFA6B0D79}" dt="2024-03-15T15:10:30.129" v="5015" actId="207"/>
          <ac:spMkLst>
            <pc:docMk/>
            <pc:sldMk cId="3561396985" sldId="2134806027"/>
            <ac:spMk id="50" creationId="{FA5D0E27-D7CD-E150-A545-25AFD17EB0FD}"/>
          </ac:spMkLst>
        </pc:spChg>
        <pc:spChg chg="mod topLvl">
          <ac:chgData name="Angela Khanali Mutsotso" userId="f2187219-0cf6-4017-8dcd-5e0007a16163" providerId="ADAL" clId="{5337204F-6A06-4668-9EC2-59FBFA6B0D79}" dt="2024-03-15T15:11:54.526" v="5025" actId="207"/>
          <ac:spMkLst>
            <pc:docMk/>
            <pc:sldMk cId="3561396985" sldId="2134806027"/>
            <ac:spMk id="51" creationId="{BE8BE1E0-4986-C229-A2DF-E79A2752E53E}"/>
          </ac:spMkLst>
        </pc:spChg>
        <pc:spChg chg="mod">
          <ac:chgData name="Angela Khanali Mutsotso" userId="f2187219-0cf6-4017-8dcd-5e0007a16163" providerId="ADAL" clId="{5337204F-6A06-4668-9EC2-59FBFA6B0D79}" dt="2024-03-15T15:10:20.530" v="5014" actId="207"/>
          <ac:spMkLst>
            <pc:docMk/>
            <pc:sldMk cId="3561396985" sldId="2134806027"/>
            <ac:spMk id="57" creationId="{8AAD6549-A99F-A5AE-94DF-28152134684E}"/>
          </ac:spMkLst>
        </pc:spChg>
        <pc:spChg chg="mod">
          <ac:chgData name="Angela Khanali Mutsotso" userId="f2187219-0cf6-4017-8dcd-5e0007a16163" providerId="ADAL" clId="{5337204F-6A06-4668-9EC2-59FBFA6B0D79}" dt="2024-03-15T15:11:35.563" v="5021" actId="207"/>
          <ac:spMkLst>
            <pc:docMk/>
            <pc:sldMk cId="3561396985" sldId="2134806027"/>
            <ac:spMk id="58" creationId="{3D29AF02-C379-327F-7F25-6A3C9B4A4E6C}"/>
          </ac:spMkLst>
        </pc:spChg>
        <pc:grpChg chg="del mod">
          <ac:chgData name="Angela Khanali Mutsotso" userId="f2187219-0cf6-4017-8dcd-5e0007a16163" providerId="ADAL" clId="{5337204F-6A06-4668-9EC2-59FBFA6B0D79}" dt="2024-03-15T14:56:29.199" v="4688" actId="165"/>
          <ac:grpSpMkLst>
            <pc:docMk/>
            <pc:sldMk cId="3561396985" sldId="2134806027"/>
            <ac:grpSpMk id="5" creationId="{DED35B12-1B36-C62A-6227-95D6186F1847}"/>
          </ac:grpSpMkLst>
        </pc:grpChg>
        <pc:grpChg chg="add del mod">
          <ac:chgData name="Angela Khanali Mutsotso" userId="f2187219-0cf6-4017-8dcd-5e0007a16163" providerId="ADAL" clId="{5337204F-6A06-4668-9EC2-59FBFA6B0D79}" dt="2024-03-15T14:57:11.138" v="4693" actId="165"/>
          <ac:grpSpMkLst>
            <pc:docMk/>
            <pc:sldMk cId="3561396985" sldId="2134806027"/>
            <ac:grpSpMk id="6" creationId="{FA951280-034D-30FC-9BA5-D25963616D9A}"/>
          </ac:grpSpMkLst>
        </pc:grpChg>
        <pc:grpChg chg="add mod">
          <ac:chgData name="Angela Khanali Mutsotso" userId="f2187219-0cf6-4017-8dcd-5e0007a16163" providerId="ADAL" clId="{5337204F-6A06-4668-9EC2-59FBFA6B0D79}" dt="2024-03-15T14:57:38.572" v="4698" actId="338"/>
          <ac:grpSpMkLst>
            <pc:docMk/>
            <pc:sldMk cId="3561396985" sldId="2134806027"/>
            <ac:grpSpMk id="7" creationId="{53655B21-C8E7-9A90-4874-2CD3AA8CDAAE}"/>
          </ac:grpSpMkLst>
        </pc:grpChg>
        <pc:grpChg chg="add del mod">
          <ac:chgData name="Angela Khanali Mutsotso" userId="f2187219-0cf6-4017-8dcd-5e0007a16163" providerId="ADAL" clId="{5337204F-6A06-4668-9EC2-59FBFA6B0D79}" dt="2024-03-15T15:04:12.124" v="4988" actId="165"/>
          <ac:grpSpMkLst>
            <pc:docMk/>
            <pc:sldMk cId="3561396985" sldId="2134806027"/>
            <ac:grpSpMk id="8" creationId="{D42FF7F1-ADC4-DC3C-3AAC-F9BD25C6811E}"/>
          </ac:grpSpMkLst>
        </pc:grpChg>
        <pc:grpChg chg="add mod">
          <ac:chgData name="Angela Khanali Mutsotso" userId="f2187219-0cf6-4017-8dcd-5e0007a16163" providerId="ADAL" clId="{5337204F-6A06-4668-9EC2-59FBFA6B0D79}" dt="2024-03-15T15:11:04.367" v="5018" actId="207"/>
          <ac:grpSpMkLst>
            <pc:docMk/>
            <pc:sldMk cId="3561396985" sldId="2134806027"/>
            <ac:grpSpMk id="9" creationId="{FB7BC1AB-1217-AA45-E64B-E3211AE90E83}"/>
          </ac:grpSpMkLst>
        </pc:grpChg>
        <pc:grpChg chg="add mod">
          <ac:chgData name="Angela Khanali Mutsotso" userId="f2187219-0cf6-4017-8dcd-5e0007a16163" providerId="ADAL" clId="{5337204F-6A06-4668-9EC2-59FBFA6B0D79}" dt="2024-03-15T15:06:49.859" v="5003" actId="1076"/>
          <ac:grpSpMkLst>
            <pc:docMk/>
            <pc:sldMk cId="3561396985" sldId="2134806027"/>
            <ac:grpSpMk id="11" creationId="{59DDEAD3-B505-E8A7-C2B8-0B36E38BF6B1}"/>
          </ac:grpSpMkLst>
        </pc:grpChg>
        <pc:grpChg chg="mod">
          <ac:chgData name="Angela Khanali Mutsotso" userId="f2187219-0cf6-4017-8dcd-5e0007a16163" providerId="ADAL" clId="{5337204F-6A06-4668-9EC2-59FBFA6B0D79}" dt="2024-03-15T15:10:59.151" v="5017" actId="207"/>
          <ac:grpSpMkLst>
            <pc:docMk/>
            <pc:sldMk cId="3561396985" sldId="2134806027"/>
            <ac:grpSpMk id="33" creationId="{D929DF55-7F2C-3FC7-BE32-CC8CABFCA60B}"/>
          </ac:grpSpMkLst>
        </pc:grpChg>
        <pc:grpChg chg="mod">
          <ac:chgData name="Angela Khanali Mutsotso" userId="f2187219-0cf6-4017-8dcd-5e0007a16163" providerId="ADAL" clId="{5337204F-6A06-4668-9EC2-59FBFA6B0D79}" dt="2024-03-15T15:10:48.758" v="5016" actId="207"/>
          <ac:grpSpMkLst>
            <pc:docMk/>
            <pc:sldMk cId="3561396985" sldId="2134806027"/>
            <ac:grpSpMk id="34" creationId="{0BE0959A-2D93-74D4-1CA3-082EAC48E16D}"/>
          </ac:grpSpMkLst>
        </pc:grpChg>
        <pc:grpChg chg="del mod">
          <ac:chgData name="Angela Khanali Mutsotso" userId="f2187219-0cf6-4017-8dcd-5e0007a16163" providerId="ADAL" clId="{5337204F-6A06-4668-9EC2-59FBFA6B0D79}" dt="2024-03-15T14:57:51.109" v="4699" actId="165"/>
          <ac:grpSpMkLst>
            <pc:docMk/>
            <pc:sldMk cId="3561396985" sldId="2134806027"/>
            <ac:grpSpMk id="47" creationId="{47E4F0DB-0806-CDD1-34D1-CB624390DE25}"/>
          </ac:grpSpMkLst>
        </pc:grpChg>
        <pc:picChg chg="mod">
          <ac:chgData name="Angela Khanali Mutsotso" userId="f2187219-0cf6-4017-8dcd-5e0007a16163" providerId="ADAL" clId="{5337204F-6A06-4668-9EC2-59FBFA6B0D79}" dt="2024-03-15T15:04:47.480" v="4992" actId="1076"/>
          <ac:picMkLst>
            <pc:docMk/>
            <pc:sldMk cId="3561396985" sldId="2134806027"/>
            <ac:picMk id="1026" creationId="{603D6CEE-DAB5-0C29-DF87-39034FA8AEA4}"/>
          </ac:picMkLst>
        </pc:picChg>
      </pc:sldChg>
      <pc:sldChg chg="add del">
        <pc:chgData name="Angela Khanali Mutsotso" userId="f2187219-0cf6-4017-8dcd-5e0007a16163" providerId="ADAL" clId="{5337204F-6A06-4668-9EC2-59FBFA6B0D79}" dt="2024-03-15T15:09:21.268" v="5007"/>
        <pc:sldMkLst>
          <pc:docMk/>
          <pc:sldMk cId="395958243" sldId="2134806028"/>
        </pc:sldMkLst>
      </pc:sldChg>
      <pc:sldChg chg="addSp delSp modSp add mod ord modNotesTx">
        <pc:chgData name="Angela Khanali Mutsotso" userId="f2187219-0cf6-4017-8dcd-5e0007a16163" providerId="ADAL" clId="{5337204F-6A06-4668-9EC2-59FBFA6B0D79}" dt="2024-03-15T15:38:49.951" v="6498" actId="207"/>
        <pc:sldMkLst>
          <pc:docMk/>
          <pc:sldMk cId="2523934972" sldId="2134806028"/>
        </pc:sldMkLst>
        <pc:spChg chg="add mod">
          <ac:chgData name="Angela Khanali Mutsotso" userId="f2187219-0cf6-4017-8dcd-5e0007a16163" providerId="ADAL" clId="{5337204F-6A06-4668-9EC2-59FBFA6B0D79}" dt="2024-03-15T15:13:52.381" v="5132" actId="1076"/>
          <ac:spMkLst>
            <pc:docMk/>
            <pc:sldMk cId="2523934972" sldId="2134806028"/>
            <ac:spMk id="4" creationId="{E0910AC8-D7AE-F1FE-4EFD-482601390149}"/>
          </ac:spMkLst>
        </pc:spChg>
        <pc:spChg chg="mod">
          <ac:chgData name="Angela Khanali Mutsotso" userId="f2187219-0cf6-4017-8dcd-5e0007a16163" providerId="ADAL" clId="{5337204F-6A06-4668-9EC2-59FBFA6B0D79}" dt="2024-03-15T15:13:52.381" v="5132" actId="1076"/>
          <ac:spMkLst>
            <pc:docMk/>
            <pc:sldMk cId="2523934972" sldId="2134806028"/>
            <ac:spMk id="6" creationId="{BD55E6BB-90C3-406F-EE56-9B891648C4BC}"/>
          </ac:spMkLst>
        </pc:spChg>
        <pc:spChg chg="mod">
          <ac:chgData name="Angela Khanali Mutsotso" userId="f2187219-0cf6-4017-8dcd-5e0007a16163" providerId="ADAL" clId="{5337204F-6A06-4668-9EC2-59FBFA6B0D79}" dt="2024-03-15T15:13:52.381" v="5132" actId="1076"/>
          <ac:spMkLst>
            <pc:docMk/>
            <pc:sldMk cId="2523934972" sldId="2134806028"/>
            <ac:spMk id="8" creationId="{125956E3-E35A-E37B-2B34-E2B639F553A2}"/>
          </ac:spMkLst>
        </pc:spChg>
        <pc:spChg chg="del">
          <ac:chgData name="Angela Khanali Mutsotso" userId="f2187219-0cf6-4017-8dcd-5e0007a16163" providerId="ADAL" clId="{5337204F-6A06-4668-9EC2-59FBFA6B0D79}" dt="2024-03-15T15:13:35.309" v="5130" actId="478"/>
          <ac:spMkLst>
            <pc:docMk/>
            <pc:sldMk cId="2523934972" sldId="2134806028"/>
            <ac:spMk id="10" creationId="{A409148D-B021-1483-CE2F-58A31CB73185}"/>
          </ac:spMkLst>
        </pc:spChg>
        <pc:spChg chg="mod">
          <ac:chgData name="Angela Khanali Mutsotso" userId="f2187219-0cf6-4017-8dcd-5e0007a16163" providerId="ADAL" clId="{5337204F-6A06-4668-9EC2-59FBFA6B0D79}" dt="2024-03-15T15:13:52.381" v="5132" actId="1076"/>
          <ac:spMkLst>
            <pc:docMk/>
            <pc:sldMk cId="2523934972" sldId="2134806028"/>
            <ac:spMk id="17" creationId="{1EA959D9-8B73-6A18-FD1B-251B2F88F658}"/>
          </ac:spMkLst>
        </pc:spChg>
        <pc:spChg chg="mod">
          <ac:chgData name="Angela Khanali Mutsotso" userId="f2187219-0cf6-4017-8dcd-5e0007a16163" providerId="ADAL" clId="{5337204F-6A06-4668-9EC2-59FBFA6B0D79}" dt="2024-03-15T15:13:52.381" v="5132" actId="1076"/>
          <ac:spMkLst>
            <pc:docMk/>
            <pc:sldMk cId="2523934972" sldId="2134806028"/>
            <ac:spMk id="18" creationId="{7A6588EF-E8AA-AFD9-B218-BB92D3D8B96A}"/>
          </ac:spMkLst>
        </pc:spChg>
        <pc:spChg chg="mod">
          <ac:chgData name="Angela Khanali Mutsotso" userId="f2187219-0cf6-4017-8dcd-5e0007a16163" providerId="ADAL" clId="{5337204F-6A06-4668-9EC2-59FBFA6B0D79}" dt="2024-03-15T15:14:41.811" v="5135" actId="207"/>
          <ac:spMkLst>
            <pc:docMk/>
            <pc:sldMk cId="2523934972" sldId="2134806028"/>
            <ac:spMk id="28" creationId="{9A707D82-D42E-A249-1549-CBFC1E965243}"/>
          </ac:spMkLst>
        </pc:spChg>
        <pc:spChg chg="mod">
          <ac:chgData name="Angela Khanali Mutsotso" userId="f2187219-0cf6-4017-8dcd-5e0007a16163" providerId="ADAL" clId="{5337204F-6A06-4668-9EC2-59FBFA6B0D79}" dt="2024-03-15T15:38:21.643" v="6492" actId="207"/>
          <ac:spMkLst>
            <pc:docMk/>
            <pc:sldMk cId="2523934972" sldId="2134806028"/>
            <ac:spMk id="32" creationId="{2B9600C8-410A-F668-4994-294B9C0C334B}"/>
          </ac:spMkLst>
        </pc:spChg>
        <pc:spChg chg="mod">
          <ac:chgData name="Angela Khanali Mutsotso" userId="f2187219-0cf6-4017-8dcd-5e0007a16163" providerId="ADAL" clId="{5337204F-6A06-4668-9EC2-59FBFA6B0D79}" dt="2024-03-15T15:34:10.341" v="6213" actId="1076"/>
          <ac:spMkLst>
            <pc:docMk/>
            <pc:sldMk cId="2523934972" sldId="2134806028"/>
            <ac:spMk id="35" creationId="{801A316D-35C1-A81A-0549-26E4B2A5777F}"/>
          </ac:spMkLst>
        </pc:spChg>
        <pc:spChg chg="mod">
          <ac:chgData name="Angela Khanali Mutsotso" userId="f2187219-0cf6-4017-8dcd-5e0007a16163" providerId="ADAL" clId="{5337204F-6A06-4668-9EC2-59FBFA6B0D79}" dt="2024-03-15T15:38:36.317" v="6495" actId="207"/>
          <ac:spMkLst>
            <pc:docMk/>
            <pc:sldMk cId="2523934972" sldId="2134806028"/>
            <ac:spMk id="36" creationId="{ACFCB0F2-2287-8056-645D-0104E69E25AA}"/>
          </ac:spMkLst>
        </pc:spChg>
        <pc:spChg chg="mod">
          <ac:chgData name="Angela Khanali Mutsotso" userId="f2187219-0cf6-4017-8dcd-5e0007a16163" providerId="ADAL" clId="{5337204F-6A06-4668-9EC2-59FBFA6B0D79}" dt="2024-03-15T15:30:03.159" v="5915" actId="688"/>
          <ac:spMkLst>
            <pc:docMk/>
            <pc:sldMk cId="2523934972" sldId="2134806028"/>
            <ac:spMk id="48" creationId="{82F7D383-D7DF-A56E-61E8-9440CA8957EF}"/>
          </ac:spMkLst>
        </pc:spChg>
        <pc:spChg chg="mod">
          <ac:chgData name="Angela Khanali Mutsotso" userId="f2187219-0cf6-4017-8dcd-5e0007a16163" providerId="ADAL" clId="{5337204F-6A06-4668-9EC2-59FBFA6B0D79}" dt="2024-03-15T15:38:49.951" v="6498" actId="207"/>
          <ac:spMkLst>
            <pc:docMk/>
            <pc:sldMk cId="2523934972" sldId="2134806028"/>
            <ac:spMk id="49" creationId="{FD274C14-E2B5-C532-7BD2-A0D827136223}"/>
          </ac:spMkLst>
        </pc:spChg>
        <pc:spChg chg="mod">
          <ac:chgData name="Angela Khanali Mutsotso" userId="f2187219-0cf6-4017-8dcd-5e0007a16163" providerId="ADAL" clId="{5337204F-6A06-4668-9EC2-59FBFA6B0D79}" dt="2024-03-15T15:33:05.978" v="6158" actId="14100"/>
          <ac:spMkLst>
            <pc:docMk/>
            <pc:sldMk cId="2523934972" sldId="2134806028"/>
            <ac:spMk id="50" creationId="{FA5D0E27-D7CD-E150-A545-25AFD17EB0FD}"/>
          </ac:spMkLst>
        </pc:spChg>
        <pc:spChg chg="mod">
          <ac:chgData name="Angela Khanali Mutsotso" userId="f2187219-0cf6-4017-8dcd-5e0007a16163" providerId="ADAL" clId="{5337204F-6A06-4668-9EC2-59FBFA6B0D79}" dt="2024-03-15T15:38:12.097" v="6490" actId="207"/>
          <ac:spMkLst>
            <pc:docMk/>
            <pc:sldMk cId="2523934972" sldId="2134806028"/>
            <ac:spMk id="51" creationId="{BE8BE1E0-4986-C229-A2DF-E79A2752E53E}"/>
          </ac:spMkLst>
        </pc:spChg>
        <pc:spChg chg="mod">
          <ac:chgData name="Angela Khanali Mutsotso" userId="f2187219-0cf6-4017-8dcd-5e0007a16163" providerId="ADAL" clId="{5337204F-6A06-4668-9EC2-59FBFA6B0D79}" dt="2024-03-15T15:14:41.811" v="5135" actId="207"/>
          <ac:spMkLst>
            <pc:docMk/>
            <pc:sldMk cId="2523934972" sldId="2134806028"/>
            <ac:spMk id="57" creationId="{8AAD6549-A99F-A5AE-94DF-28152134684E}"/>
          </ac:spMkLst>
        </pc:spChg>
        <pc:spChg chg="mod">
          <ac:chgData name="Angela Khanali Mutsotso" userId="f2187219-0cf6-4017-8dcd-5e0007a16163" providerId="ADAL" clId="{5337204F-6A06-4668-9EC2-59FBFA6B0D79}" dt="2024-03-15T15:37:56.294" v="6486" actId="207"/>
          <ac:spMkLst>
            <pc:docMk/>
            <pc:sldMk cId="2523934972" sldId="2134806028"/>
            <ac:spMk id="58" creationId="{3D29AF02-C379-327F-7F25-6A3C9B4A4E6C}"/>
          </ac:spMkLst>
        </pc:spChg>
        <pc:grpChg chg="add mod">
          <ac:chgData name="Angela Khanali Mutsotso" userId="f2187219-0cf6-4017-8dcd-5e0007a16163" providerId="ADAL" clId="{5337204F-6A06-4668-9EC2-59FBFA6B0D79}" dt="2024-03-15T15:13:52.381" v="5132" actId="1076"/>
          <ac:grpSpMkLst>
            <pc:docMk/>
            <pc:sldMk cId="2523934972" sldId="2134806028"/>
            <ac:grpSpMk id="5" creationId="{B0DC1225-DFA9-D9C8-BBD4-ABCCEF527C95}"/>
          </ac:grpSpMkLst>
        </pc:grpChg>
        <pc:grpChg chg="mod">
          <ac:chgData name="Angela Khanali Mutsotso" userId="f2187219-0cf6-4017-8dcd-5e0007a16163" providerId="ADAL" clId="{5337204F-6A06-4668-9EC2-59FBFA6B0D79}" dt="2024-03-15T15:14:41.811" v="5135" actId="207"/>
          <ac:grpSpMkLst>
            <pc:docMk/>
            <pc:sldMk cId="2523934972" sldId="2134806028"/>
            <ac:grpSpMk id="7" creationId="{53655B21-C8E7-9A90-4874-2CD3AA8CDAAE}"/>
          </ac:grpSpMkLst>
        </pc:grpChg>
        <pc:grpChg chg="mod">
          <ac:chgData name="Angela Khanali Mutsotso" userId="f2187219-0cf6-4017-8dcd-5e0007a16163" providerId="ADAL" clId="{5337204F-6A06-4668-9EC2-59FBFA6B0D79}" dt="2024-03-15T15:29:44.666" v="5913" actId="1076"/>
          <ac:grpSpMkLst>
            <pc:docMk/>
            <pc:sldMk cId="2523934972" sldId="2134806028"/>
            <ac:grpSpMk id="9" creationId="{FB7BC1AB-1217-AA45-E64B-E3211AE90E83}"/>
          </ac:grpSpMkLst>
        </pc:grpChg>
        <pc:grpChg chg="del">
          <ac:chgData name="Angela Khanali Mutsotso" userId="f2187219-0cf6-4017-8dcd-5e0007a16163" providerId="ADAL" clId="{5337204F-6A06-4668-9EC2-59FBFA6B0D79}" dt="2024-03-15T15:13:35.309" v="5130" actId="478"/>
          <ac:grpSpMkLst>
            <pc:docMk/>
            <pc:sldMk cId="2523934972" sldId="2134806028"/>
            <ac:grpSpMk id="11" creationId="{59DDEAD3-B505-E8A7-C2B8-0B36E38BF6B1}"/>
          </ac:grpSpMkLst>
        </pc:grpChg>
        <pc:grpChg chg="mod">
          <ac:chgData name="Angela Khanali Mutsotso" userId="f2187219-0cf6-4017-8dcd-5e0007a16163" providerId="ADAL" clId="{5337204F-6A06-4668-9EC2-59FBFA6B0D79}" dt="2024-03-15T15:14:41.811" v="5135" actId="207"/>
          <ac:grpSpMkLst>
            <pc:docMk/>
            <pc:sldMk cId="2523934972" sldId="2134806028"/>
            <ac:grpSpMk id="33" creationId="{D929DF55-7F2C-3FC7-BE32-CC8CABFCA60B}"/>
          </ac:grpSpMkLst>
        </pc:grpChg>
        <pc:grpChg chg="mod">
          <ac:chgData name="Angela Khanali Mutsotso" userId="f2187219-0cf6-4017-8dcd-5e0007a16163" providerId="ADAL" clId="{5337204F-6A06-4668-9EC2-59FBFA6B0D79}" dt="2024-03-15T15:14:41.811" v="5135" actId="207"/>
          <ac:grpSpMkLst>
            <pc:docMk/>
            <pc:sldMk cId="2523934972" sldId="2134806028"/>
            <ac:grpSpMk id="34" creationId="{0BE0959A-2D93-74D4-1CA3-082EAC48E16D}"/>
          </ac:grpSpMkLst>
        </pc:grpChg>
        <pc:grpChg chg="mod">
          <ac:chgData name="Angela Khanali Mutsotso" userId="f2187219-0cf6-4017-8dcd-5e0007a16163" providerId="ADAL" clId="{5337204F-6A06-4668-9EC2-59FBFA6B0D79}" dt="2024-03-15T15:14:41.811" v="5135" actId="207"/>
          <ac:grpSpMkLst>
            <pc:docMk/>
            <pc:sldMk cId="2523934972" sldId="2134806028"/>
            <ac:grpSpMk id="56" creationId="{5403A232-7729-9997-6EC2-E8568BE3F444}"/>
          </ac:grpSpMkLst>
        </pc:grpChg>
        <pc:picChg chg="mod">
          <ac:chgData name="Angela Khanali Mutsotso" userId="f2187219-0cf6-4017-8dcd-5e0007a16163" providerId="ADAL" clId="{5337204F-6A06-4668-9EC2-59FBFA6B0D79}" dt="2024-03-15T15:13:58.644" v="5133" actId="14100"/>
          <ac:picMkLst>
            <pc:docMk/>
            <pc:sldMk cId="2523934972" sldId="2134806028"/>
            <ac:picMk id="2" creationId="{D98B4DE2-9B3B-B281-1D07-BDA520652EDB}"/>
          </ac:picMkLst>
        </pc:picChg>
        <pc:picChg chg="mod">
          <ac:chgData name="Angela Khanali Mutsotso" userId="f2187219-0cf6-4017-8dcd-5e0007a16163" providerId="ADAL" clId="{5337204F-6A06-4668-9EC2-59FBFA6B0D79}" dt="2024-03-15T15:14:04.847" v="5134" actId="1076"/>
          <ac:picMkLst>
            <pc:docMk/>
            <pc:sldMk cId="2523934972" sldId="2134806028"/>
            <ac:picMk id="3" creationId="{89999943-20E5-9FB5-2D93-4324138D6615}"/>
          </ac:picMkLst>
        </pc:picChg>
        <pc:picChg chg="mod">
          <ac:chgData name="Angela Khanali Mutsotso" userId="f2187219-0cf6-4017-8dcd-5e0007a16163" providerId="ADAL" clId="{5337204F-6A06-4668-9EC2-59FBFA6B0D79}" dt="2024-03-15T15:24:56.530" v="5606" actId="1076"/>
          <ac:picMkLst>
            <pc:docMk/>
            <pc:sldMk cId="2523934972" sldId="2134806028"/>
            <ac:picMk id="1026" creationId="{603D6CEE-DAB5-0C29-DF87-39034FA8AEA4}"/>
          </ac:picMkLst>
        </pc:picChg>
      </pc:sldChg>
      <pc:sldChg chg="add del">
        <pc:chgData name="Angela Khanali Mutsotso" userId="f2187219-0cf6-4017-8dcd-5e0007a16163" providerId="ADAL" clId="{5337204F-6A06-4668-9EC2-59FBFA6B0D79}" dt="2024-03-15T15:09:09.069" v="5005"/>
        <pc:sldMkLst>
          <pc:docMk/>
          <pc:sldMk cId="2732637903" sldId="2134806028"/>
        </pc:sldMkLst>
      </pc:sldChg>
      <pc:sldMasterChg chg="del delSldLayout">
        <pc:chgData name="Angela Khanali Mutsotso" userId="f2187219-0cf6-4017-8dcd-5e0007a16163" providerId="ADAL" clId="{5337204F-6A06-4668-9EC2-59FBFA6B0D79}" dt="2024-03-15T10:22:15.294" v="1921" actId="47"/>
        <pc:sldMasterMkLst>
          <pc:docMk/>
          <pc:sldMasterMk cId="346461969" sldId="2147483675"/>
        </pc:sldMasterMkLst>
        <pc:sldLayoutChg chg="del">
          <pc:chgData name="Angela Khanali Mutsotso" userId="f2187219-0cf6-4017-8dcd-5e0007a16163" providerId="ADAL" clId="{5337204F-6A06-4668-9EC2-59FBFA6B0D79}" dt="2024-03-15T10:22:15.294" v="1921" actId="47"/>
          <pc:sldLayoutMkLst>
            <pc:docMk/>
            <pc:sldMasterMk cId="346461969" sldId="2147483675"/>
            <pc:sldLayoutMk cId="320024985" sldId="2147483676"/>
          </pc:sldLayoutMkLst>
        </pc:sldLayoutChg>
        <pc:sldLayoutChg chg="del">
          <pc:chgData name="Angela Khanali Mutsotso" userId="f2187219-0cf6-4017-8dcd-5e0007a16163" providerId="ADAL" clId="{5337204F-6A06-4668-9EC2-59FBFA6B0D79}" dt="2024-03-15T10:22:15.294" v="1921" actId="47"/>
          <pc:sldLayoutMkLst>
            <pc:docMk/>
            <pc:sldMasterMk cId="346461969" sldId="2147483675"/>
            <pc:sldLayoutMk cId="4098529332" sldId="2147483677"/>
          </pc:sldLayoutMkLst>
        </pc:sldLayoutChg>
      </pc:sldMasterChg>
    </pc:docChg>
  </pc:docChgLst>
  <pc:docChgLst>
    <pc:chgData name="Angela Khanali Mutsotso" userId="S::amutsotso@irena.org::f2187219-0cf6-4017-8dcd-5e0007a16163" providerId="AD" clId="Web-{D0F72047-EEBC-4B7F-9E82-ACD38CA4C10E}"/>
    <pc:docChg chg="modSld">
      <pc:chgData name="Angela Khanali Mutsotso" userId="S::amutsotso@irena.org::f2187219-0cf6-4017-8dcd-5e0007a16163" providerId="AD" clId="Web-{D0F72047-EEBC-4B7F-9E82-ACD38CA4C10E}" dt="2024-02-21T15:23:04.391" v="2" actId="20577"/>
      <pc:docMkLst>
        <pc:docMk/>
      </pc:docMkLst>
      <pc:sldChg chg="modSp">
        <pc:chgData name="Angela Khanali Mutsotso" userId="S::amutsotso@irena.org::f2187219-0cf6-4017-8dcd-5e0007a16163" providerId="AD" clId="Web-{D0F72047-EEBC-4B7F-9E82-ACD38CA4C10E}" dt="2024-02-21T15:23:04.391" v="2" actId="20577"/>
        <pc:sldMkLst>
          <pc:docMk/>
          <pc:sldMk cId="227335229" sldId="2134805974"/>
        </pc:sldMkLst>
        <pc:spChg chg="mod">
          <ac:chgData name="Angela Khanali Mutsotso" userId="S::amutsotso@irena.org::f2187219-0cf6-4017-8dcd-5e0007a16163" providerId="AD" clId="Web-{D0F72047-EEBC-4B7F-9E82-ACD38CA4C10E}" dt="2024-02-21T15:23:04.391" v="2" actId="20577"/>
          <ac:spMkLst>
            <pc:docMk/>
            <pc:sldMk cId="227335229" sldId="2134805974"/>
            <ac:spMk id="50" creationId="{97502CC9-5A54-4C47-BD34-CFF07810E4E4}"/>
          </ac:spMkLst>
        </pc:spChg>
      </pc:sldChg>
    </pc:docChg>
  </pc:docChgLst>
  <pc:docChgLst>
    <pc:chgData name="Daniel Russo" userId="d140fec5-b866-4893-ad9d-e9cafa9974fc" providerId="ADAL" clId="{3CB448D6-1183-4B88-82D9-4AD28D1C0E16}"/>
    <pc:docChg chg="undo modSld">
      <pc:chgData name="Daniel Russo" userId="d140fec5-b866-4893-ad9d-e9cafa9974fc" providerId="ADAL" clId="{3CB448D6-1183-4B88-82D9-4AD28D1C0E16}" dt="2024-03-05T11:18:14.924" v="271" actId="113"/>
      <pc:docMkLst>
        <pc:docMk/>
      </pc:docMkLst>
      <pc:sldChg chg="modSp mod addCm delCm">
        <pc:chgData name="Daniel Russo" userId="d140fec5-b866-4893-ad9d-e9cafa9974fc" providerId="ADAL" clId="{3CB448D6-1183-4B88-82D9-4AD28D1C0E16}" dt="2024-03-05T11:18:14.924" v="271" actId="113"/>
        <pc:sldMkLst>
          <pc:docMk/>
          <pc:sldMk cId="800089490" sldId="2134806009"/>
        </pc:sldMkLst>
        <pc:spChg chg="mod">
          <ac:chgData name="Daniel Russo" userId="d140fec5-b866-4893-ad9d-e9cafa9974fc" providerId="ADAL" clId="{3CB448D6-1183-4B88-82D9-4AD28D1C0E16}" dt="2024-03-05T11:18:14.924" v="271" actId="113"/>
          <ac:spMkLst>
            <pc:docMk/>
            <pc:sldMk cId="800089490" sldId="2134806009"/>
            <ac:spMk id="8" creationId="{46248936-C7E6-48DD-91DA-EAD275F750CE}"/>
          </ac:spMkLst>
        </pc:spChg>
        <pc:spChg chg="mod">
          <ac:chgData name="Daniel Russo" userId="d140fec5-b866-4893-ad9d-e9cafa9974fc" providerId="ADAL" clId="{3CB448D6-1183-4B88-82D9-4AD28D1C0E16}" dt="2024-03-05T11:17:21.505" v="264" actId="1076"/>
          <ac:spMkLst>
            <pc:docMk/>
            <pc:sldMk cId="800089490" sldId="2134806009"/>
            <ac:spMk id="18" creationId="{8FD2D699-AFFA-9FA6-42D0-64E7DBD9A10A}"/>
          </ac:spMkLst>
        </pc:spChg>
        <pc:picChg chg="mod modCrop">
          <ac:chgData name="Daniel Russo" userId="d140fec5-b866-4893-ad9d-e9cafa9974fc" providerId="ADAL" clId="{3CB448D6-1183-4B88-82D9-4AD28D1C0E16}" dt="2024-03-05T11:16:43.566" v="259" actId="732"/>
          <ac:picMkLst>
            <pc:docMk/>
            <pc:sldMk cId="800089490" sldId="2134806009"/>
            <ac:picMk id="17" creationId="{AEC61209-1CFD-7129-06DC-BE8CBFD07F69}"/>
          </ac:picMkLst>
        </pc:picChg>
      </pc:sldChg>
      <pc:sldChg chg="modSp mod addCm">
        <pc:chgData name="Daniel Russo" userId="d140fec5-b866-4893-ad9d-e9cafa9974fc" providerId="ADAL" clId="{3CB448D6-1183-4B88-82D9-4AD28D1C0E16}" dt="2024-03-05T11:18:01.175" v="269"/>
        <pc:sldMkLst>
          <pc:docMk/>
          <pc:sldMk cId="70204666" sldId="2134806020"/>
        </pc:sldMkLst>
        <pc:spChg chg="mod">
          <ac:chgData name="Daniel Russo" userId="d140fec5-b866-4893-ad9d-e9cafa9974fc" providerId="ADAL" clId="{3CB448D6-1183-4B88-82D9-4AD28D1C0E16}" dt="2024-03-05T11:17:47.154" v="268" actId="14100"/>
          <ac:spMkLst>
            <pc:docMk/>
            <pc:sldMk cId="70204666" sldId="2134806020"/>
            <ac:spMk id="8" creationId="{46248936-C7E6-48DD-91DA-EAD275F750CE}"/>
          </ac:spMkLst>
        </pc:spChg>
      </pc:sldChg>
    </pc:docChg>
  </pc:docChgLst>
  <pc:docChgLst>
    <pc:chgData name="Nolwazi Khumalo" userId="S::nkhumalo@irena.org::0faae79f-1a05-469d-b2ea-69e94adabb16" providerId="AD" clId="Web-{FD3F534B-A7D4-2D72-A798-A5CC14983389}"/>
    <pc:docChg chg="mod">
      <pc:chgData name="Nolwazi Khumalo" userId="S::nkhumalo@irena.org::0faae79f-1a05-469d-b2ea-69e94adabb16" providerId="AD" clId="Web-{FD3F534B-A7D4-2D72-A798-A5CC14983389}" dt="2024-03-04T16:54:54.992" v="1"/>
      <pc:docMkLst>
        <pc:docMk/>
      </pc:docMkLst>
      <pc:sldChg chg="addCm">
        <pc:chgData name="Nolwazi Khumalo" userId="S::nkhumalo@irena.org::0faae79f-1a05-469d-b2ea-69e94adabb16" providerId="AD" clId="Web-{FD3F534B-A7D4-2D72-A798-A5CC14983389}" dt="2024-03-04T16:54:54.992" v="1"/>
        <pc:sldMkLst>
          <pc:docMk/>
          <pc:sldMk cId="800089490" sldId="2134806009"/>
        </pc:sldMkLst>
      </pc:sldChg>
    </pc:docChg>
  </pc:docChgLst>
  <pc:docChgLst>
    <pc:chgData name="Juan Jose Garcia Mendez" userId="79928300-9a33-4563-923f-d3371a1825bb" providerId="ADAL" clId="{5AB3CF40-E42E-46C1-8008-117D1A006EBB}"/>
    <pc:docChg chg="undo custSel modSld">
      <pc:chgData name="Juan Jose Garcia Mendez" userId="79928300-9a33-4563-923f-d3371a1825bb" providerId="ADAL" clId="{5AB3CF40-E42E-46C1-8008-117D1A006EBB}" dt="2024-02-20T08:51:45.359" v="73" actId="478"/>
      <pc:docMkLst>
        <pc:docMk/>
      </pc:docMkLst>
      <pc:sldChg chg="addSp delSp modSp mod">
        <pc:chgData name="Juan Jose Garcia Mendez" userId="79928300-9a33-4563-923f-d3371a1825bb" providerId="ADAL" clId="{5AB3CF40-E42E-46C1-8008-117D1A006EBB}" dt="2024-02-20T08:50:08.348" v="7" actId="1076"/>
        <pc:sldMkLst>
          <pc:docMk/>
          <pc:sldMk cId="4134108308" sldId="269"/>
        </pc:sldMkLst>
        <pc:picChg chg="add del">
          <ac:chgData name="Juan Jose Garcia Mendez" userId="79928300-9a33-4563-923f-d3371a1825bb" providerId="ADAL" clId="{5AB3CF40-E42E-46C1-8008-117D1A006EBB}" dt="2024-02-20T08:49:57.804" v="3" actId="22"/>
          <ac:picMkLst>
            <pc:docMk/>
            <pc:sldMk cId="4134108308" sldId="269"/>
            <ac:picMk id="5" creationId="{2C403A19-1336-6139-CE6C-DB21D1BAE5ED}"/>
          </ac:picMkLst>
        </pc:picChg>
        <pc:picChg chg="add mod">
          <ac:chgData name="Juan Jose Garcia Mendez" userId="79928300-9a33-4563-923f-d3371a1825bb" providerId="ADAL" clId="{5AB3CF40-E42E-46C1-8008-117D1A006EBB}" dt="2024-02-20T08:50:08.348" v="7" actId="1076"/>
          <ac:picMkLst>
            <pc:docMk/>
            <pc:sldMk cId="4134108308" sldId="269"/>
            <ac:picMk id="13" creationId="{77C3E07E-4CA2-058D-C0E9-43983D9E036C}"/>
          </ac:picMkLst>
        </pc:picChg>
        <pc:picChg chg="del">
          <ac:chgData name="Juan Jose Garcia Mendez" userId="79928300-9a33-4563-923f-d3371a1825bb" providerId="ADAL" clId="{5AB3CF40-E42E-46C1-8008-117D1A006EBB}" dt="2024-02-20T08:49:55.461" v="1" actId="478"/>
          <ac:picMkLst>
            <pc:docMk/>
            <pc:sldMk cId="4134108308" sldId="269"/>
            <ac:picMk id="14" creationId="{A651A093-62DE-685D-1A41-634775C85C2F}"/>
          </ac:picMkLst>
        </pc:picChg>
      </pc:sldChg>
      <pc:sldChg chg="modSp mod">
        <pc:chgData name="Juan Jose Garcia Mendez" userId="79928300-9a33-4563-923f-d3371a1825bb" providerId="ADAL" clId="{5AB3CF40-E42E-46C1-8008-117D1A006EBB}" dt="2024-02-20T08:49:41.815" v="0" actId="20577"/>
        <pc:sldMkLst>
          <pc:docMk/>
          <pc:sldMk cId="227335229" sldId="2134805974"/>
        </pc:sldMkLst>
        <pc:spChg chg="mod">
          <ac:chgData name="Juan Jose Garcia Mendez" userId="79928300-9a33-4563-923f-d3371a1825bb" providerId="ADAL" clId="{5AB3CF40-E42E-46C1-8008-117D1A006EBB}" dt="2024-02-20T08:49:41.815" v="0" actId="20577"/>
          <ac:spMkLst>
            <pc:docMk/>
            <pc:sldMk cId="227335229" sldId="2134805974"/>
            <ac:spMk id="50" creationId="{97502CC9-5A54-4C47-BD34-CFF07810E4E4}"/>
          </ac:spMkLst>
        </pc:spChg>
      </pc:sldChg>
      <pc:sldChg chg="addSp delSp modSp mod">
        <pc:chgData name="Juan Jose Garcia Mendez" userId="79928300-9a33-4563-923f-d3371a1825bb" providerId="ADAL" clId="{5AB3CF40-E42E-46C1-8008-117D1A006EBB}" dt="2024-02-20T08:51:45.359" v="73" actId="478"/>
        <pc:sldMkLst>
          <pc:docMk/>
          <pc:sldMk cId="2458954775" sldId="2134806018"/>
        </pc:sldMkLst>
        <pc:spChg chg="mod">
          <ac:chgData name="Juan Jose Garcia Mendez" userId="79928300-9a33-4563-923f-d3371a1825bb" providerId="ADAL" clId="{5AB3CF40-E42E-46C1-8008-117D1A006EBB}" dt="2024-02-20T08:51:38.679" v="72" actId="20577"/>
          <ac:spMkLst>
            <pc:docMk/>
            <pc:sldMk cId="2458954775" sldId="2134806018"/>
            <ac:spMk id="2" creationId="{2998E5E9-6F13-0C4E-9E6A-10681B7E1984}"/>
          </ac:spMkLst>
        </pc:spChg>
        <pc:picChg chg="add del">
          <ac:chgData name="Juan Jose Garcia Mendez" userId="79928300-9a33-4563-923f-d3371a1825bb" providerId="ADAL" clId="{5AB3CF40-E42E-46C1-8008-117D1A006EBB}" dt="2024-02-20T08:51:45.359" v="73" actId="478"/>
          <ac:picMkLst>
            <pc:docMk/>
            <pc:sldMk cId="2458954775" sldId="2134806018"/>
            <ac:picMk id="8" creationId="{ACB2336C-1AA7-5230-B67E-D8DD0128B031}"/>
          </ac:picMkLst>
        </pc:picChg>
      </pc:sldChg>
    </pc:docChg>
  </pc:docChgLst>
  <pc:docChgLst>
    <pc:chgData name="Angela Khanali Mutsotso" userId="S::amutsotso@irena.org::f2187219-0cf6-4017-8dcd-5e0007a16163" providerId="AD" clId="Web-{FA5B9A17-EF24-63F5-DC1B-EAEB1B23C714}"/>
    <pc:docChg chg="modSld">
      <pc:chgData name="Angela Khanali Mutsotso" userId="S::amutsotso@irena.org::f2187219-0cf6-4017-8dcd-5e0007a16163" providerId="AD" clId="Web-{FA5B9A17-EF24-63F5-DC1B-EAEB1B23C714}" dt="2024-03-15T15:52:10.575" v="101" actId="1076"/>
      <pc:docMkLst>
        <pc:docMk/>
      </pc:docMkLst>
      <pc:sldChg chg="delSp modSp">
        <pc:chgData name="Angela Khanali Mutsotso" userId="S::amutsotso@irena.org::f2187219-0cf6-4017-8dcd-5e0007a16163" providerId="AD" clId="Web-{FA5B9A17-EF24-63F5-DC1B-EAEB1B23C714}" dt="2024-03-15T15:51:57.559" v="100" actId="20577"/>
        <pc:sldMkLst>
          <pc:docMk/>
          <pc:sldMk cId="4270065048" sldId="2134806014"/>
        </pc:sldMkLst>
        <pc:spChg chg="mod">
          <ac:chgData name="Angela Khanali Mutsotso" userId="S::amutsotso@irena.org::f2187219-0cf6-4017-8dcd-5e0007a16163" providerId="AD" clId="Web-{FA5B9A17-EF24-63F5-DC1B-EAEB1B23C714}" dt="2024-03-15T15:51:57.559" v="100" actId="20577"/>
          <ac:spMkLst>
            <pc:docMk/>
            <pc:sldMk cId="4270065048" sldId="2134806014"/>
            <ac:spMk id="2" creationId="{3263325C-8D52-F721-A313-E8D3A2926916}"/>
          </ac:spMkLst>
        </pc:spChg>
        <pc:spChg chg="mod">
          <ac:chgData name="Angela Khanali Mutsotso" userId="S::amutsotso@irena.org::f2187219-0cf6-4017-8dcd-5e0007a16163" providerId="AD" clId="Web-{FA5B9A17-EF24-63F5-DC1B-EAEB1B23C714}" dt="2024-03-15T15:51:47.590" v="92" actId="20577"/>
          <ac:spMkLst>
            <pc:docMk/>
            <pc:sldMk cId="4270065048" sldId="2134806014"/>
            <ac:spMk id="4" creationId="{E614ECFF-D44B-451B-FF0C-432D15F2788F}"/>
          </ac:spMkLst>
        </pc:spChg>
        <pc:picChg chg="mod">
          <ac:chgData name="Angela Khanali Mutsotso" userId="S::amutsotso@irena.org::f2187219-0cf6-4017-8dcd-5e0007a16163" providerId="AD" clId="Web-{FA5B9A17-EF24-63F5-DC1B-EAEB1B23C714}" dt="2024-03-15T15:51:40.136" v="74" actId="1076"/>
          <ac:picMkLst>
            <pc:docMk/>
            <pc:sldMk cId="4270065048" sldId="2134806014"/>
            <ac:picMk id="5" creationId="{2431D1F6-161C-FFA5-C495-DD206C86E7FC}"/>
          </ac:picMkLst>
        </pc:picChg>
        <pc:picChg chg="mod">
          <ac:chgData name="Angela Khanali Mutsotso" userId="S::amutsotso@irena.org::f2187219-0cf6-4017-8dcd-5e0007a16163" providerId="AD" clId="Web-{FA5B9A17-EF24-63F5-DC1B-EAEB1B23C714}" dt="2024-03-15T15:51:30.464" v="70" actId="1076"/>
          <ac:picMkLst>
            <pc:docMk/>
            <pc:sldMk cId="4270065048" sldId="2134806014"/>
            <ac:picMk id="6" creationId="{85AED23B-4FB3-CF76-2DDC-1D93902FF2F6}"/>
          </ac:picMkLst>
        </pc:picChg>
        <pc:picChg chg="del">
          <ac:chgData name="Angela Khanali Mutsotso" userId="S::amutsotso@irena.org::f2187219-0cf6-4017-8dcd-5e0007a16163" providerId="AD" clId="Web-{FA5B9A17-EF24-63F5-DC1B-EAEB1B23C714}" dt="2024-03-15T15:51:15.495" v="53"/>
          <ac:picMkLst>
            <pc:docMk/>
            <pc:sldMk cId="4270065048" sldId="2134806014"/>
            <ac:picMk id="8" creationId="{CB077CA8-5D1E-957B-A60C-45088CA4C0F5}"/>
          </ac:picMkLst>
        </pc:picChg>
        <pc:picChg chg="del">
          <ac:chgData name="Angela Khanali Mutsotso" userId="S::amutsotso@irena.org::f2187219-0cf6-4017-8dcd-5e0007a16163" providerId="AD" clId="Web-{FA5B9A17-EF24-63F5-DC1B-EAEB1B23C714}" dt="2024-03-15T15:51:15.495" v="54"/>
          <ac:picMkLst>
            <pc:docMk/>
            <pc:sldMk cId="4270065048" sldId="2134806014"/>
            <ac:picMk id="9" creationId="{9287FA3E-5724-1EFF-BF71-C30FCC749C6A}"/>
          </ac:picMkLst>
        </pc:picChg>
        <pc:picChg chg="mod">
          <ac:chgData name="Angela Khanali Mutsotso" userId="S::amutsotso@irena.org::f2187219-0cf6-4017-8dcd-5e0007a16163" providerId="AD" clId="Web-{FA5B9A17-EF24-63F5-DC1B-EAEB1B23C714}" dt="2024-03-15T15:51:36.074" v="72" actId="1076"/>
          <ac:picMkLst>
            <pc:docMk/>
            <pc:sldMk cId="4270065048" sldId="2134806014"/>
            <ac:picMk id="11" creationId="{868EEF75-E063-B94E-3C0D-38F721ACC420}"/>
          </ac:picMkLst>
        </pc:picChg>
      </pc:sldChg>
      <pc:sldChg chg="addSp modSp">
        <pc:chgData name="Angela Khanali Mutsotso" userId="S::amutsotso@irena.org::f2187219-0cf6-4017-8dcd-5e0007a16163" providerId="AD" clId="Web-{FA5B9A17-EF24-63F5-DC1B-EAEB1B23C714}" dt="2024-03-15T15:52:10.575" v="101" actId="1076"/>
        <pc:sldMkLst>
          <pc:docMk/>
          <pc:sldMk cId="1411868860" sldId="2134806019"/>
        </pc:sldMkLst>
        <pc:spChg chg="mod">
          <ac:chgData name="Angela Khanali Mutsotso" userId="S::amutsotso@irena.org::f2187219-0cf6-4017-8dcd-5e0007a16163" providerId="AD" clId="Web-{FA5B9A17-EF24-63F5-DC1B-EAEB1B23C714}" dt="2024-03-15T15:51:09.698" v="51" actId="1076"/>
          <ac:spMkLst>
            <pc:docMk/>
            <pc:sldMk cId="1411868860" sldId="2134806019"/>
            <ac:spMk id="2" creationId="{3263325C-8D52-F721-A313-E8D3A2926916}"/>
          </ac:spMkLst>
        </pc:spChg>
        <pc:picChg chg="mod">
          <ac:chgData name="Angela Khanali Mutsotso" userId="S::amutsotso@irena.org::f2187219-0cf6-4017-8dcd-5e0007a16163" providerId="AD" clId="Web-{FA5B9A17-EF24-63F5-DC1B-EAEB1B23C714}" dt="2024-03-15T15:50:20.587" v="34" actId="1076"/>
          <ac:picMkLst>
            <pc:docMk/>
            <pc:sldMk cId="1411868860" sldId="2134806019"/>
            <ac:picMk id="5" creationId="{58107C11-2A63-D554-0BB9-998E9E3BA53C}"/>
          </ac:picMkLst>
        </pc:picChg>
        <pc:picChg chg="mod">
          <ac:chgData name="Angela Khanali Mutsotso" userId="S::amutsotso@irena.org::f2187219-0cf6-4017-8dcd-5e0007a16163" providerId="AD" clId="Web-{FA5B9A17-EF24-63F5-DC1B-EAEB1B23C714}" dt="2024-03-15T15:50:53.463" v="46" actId="1076"/>
          <ac:picMkLst>
            <pc:docMk/>
            <pc:sldMk cId="1411868860" sldId="2134806019"/>
            <ac:picMk id="7" creationId="{DBBA8C95-78FC-2536-34C5-D3BE03AE95A2}"/>
          </ac:picMkLst>
        </pc:picChg>
        <pc:picChg chg="mod">
          <ac:chgData name="Angela Khanali Mutsotso" userId="S::amutsotso@irena.org::f2187219-0cf6-4017-8dcd-5e0007a16163" providerId="AD" clId="Web-{FA5B9A17-EF24-63F5-DC1B-EAEB1B23C714}" dt="2024-03-15T15:51:11.526" v="52" actId="1076"/>
          <ac:picMkLst>
            <pc:docMk/>
            <pc:sldMk cId="1411868860" sldId="2134806019"/>
            <ac:picMk id="8" creationId="{F209F333-68F8-7B72-3F43-E6F16828CB36}"/>
          </ac:picMkLst>
        </pc:picChg>
        <pc:picChg chg="mod">
          <ac:chgData name="Angela Khanali Mutsotso" userId="S::amutsotso@irena.org::f2187219-0cf6-4017-8dcd-5e0007a16163" providerId="AD" clId="Web-{FA5B9A17-EF24-63F5-DC1B-EAEB1B23C714}" dt="2024-03-15T15:52:10.575" v="101" actId="1076"/>
          <ac:picMkLst>
            <pc:docMk/>
            <pc:sldMk cId="1411868860" sldId="2134806019"/>
            <ac:picMk id="10" creationId="{B030DFF8-2071-67AB-B18C-CF8B5480C28D}"/>
          </ac:picMkLst>
        </pc:picChg>
        <pc:picChg chg="add mod">
          <ac:chgData name="Angela Khanali Mutsotso" userId="S::amutsotso@irena.org::f2187219-0cf6-4017-8dcd-5e0007a16163" providerId="AD" clId="Web-{FA5B9A17-EF24-63F5-DC1B-EAEB1B23C714}" dt="2024-03-15T15:50:50.135" v="44" actId="1076"/>
          <ac:picMkLst>
            <pc:docMk/>
            <pc:sldMk cId="1411868860" sldId="2134806019"/>
            <ac:picMk id="11" creationId="{A7702F60-DBC4-9AF0-D00F-756B23FF436E}"/>
          </ac:picMkLst>
        </pc:picChg>
        <pc:picChg chg="add mod">
          <ac:chgData name="Angela Khanali Mutsotso" userId="S::amutsotso@irena.org::f2187219-0cf6-4017-8dcd-5e0007a16163" providerId="AD" clId="Web-{FA5B9A17-EF24-63F5-DC1B-EAEB1B23C714}" dt="2024-03-15T15:50:44.634" v="42" actId="1076"/>
          <ac:picMkLst>
            <pc:docMk/>
            <pc:sldMk cId="1411868860" sldId="2134806019"/>
            <ac:picMk id="13" creationId="{562A6AF0-CB84-2484-2F66-0BD75305F1CD}"/>
          </ac:picMkLst>
        </pc:picChg>
      </pc:sldChg>
    </pc:docChg>
  </pc:docChgLst>
  <pc:docChgLst>
    <pc:chgData name="Angela Khanali Mutsotso" userId="S::amutsotso@irena.org::f2187219-0cf6-4017-8dcd-5e0007a16163" providerId="AD" clId="Web-{2243D0A4-F579-FDEA-D92F-5B291270E0CD}"/>
    <pc:docChg chg="modSld">
      <pc:chgData name="Angela Khanali Mutsotso" userId="S::amutsotso@irena.org::f2187219-0cf6-4017-8dcd-5e0007a16163" providerId="AD" clId="Web-{2243D0A4-F579-FDEA-D92F-5B291270E0CD}" dt="2024-03-15T17:28:29.703" v="2" actId="20577"/>
      <pc:docMkLst>
        <pc:docMk/>
      </pc:docMkLst>
      <pc:sldChg chg="modSp">
        <pc:chgData name="Angela Khanali Mutsotso" userId="S::amutsotso@irena.org::f2187219-0cf6-4017-8dcd-5e0007a16163" providerId="AD" clId="Web-{2243D0A4-F579-FDEA-D92F-5B291270E0CD}" dt="2024-03-15T17:28:29.703" v="2" actId="20577"/>
        <pc:sldMkLst>
          <pc:docMk/>
          <pc:sldMk cId="2092328661" sldId="2134806022"/>
        </pc:sldMkLst>
        <pc:spChg chg="mod">
          <ac:chgData name="Angela Khanali Mutsotso" userId="S::amutsotso@irena.org::f2187219-0cf6-4017-8dcd-5e0007a16163" providerId="AD" clId="Web-{2243D0A4-F579-FDEA-D92F-5B291270E0CD}" dt="2024-03-15T17:28:29.703" v="2" actId="20577"/>
          <ac:spMkLst>
            <pc:docMk/>
            <pc:sldMk cId="2092328661" sldId="2134806022"/>
            <ac:spMk id="8" creationId="{46248936-C7E6-48DD-91DA-EAD275F750CE}"/>
          </ac:spMkLst>
        </pc:spChg>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image" Target="../media/image15.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image" Target="../media/image15.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283B94-322D-4ED5-8271-A9C16D569148}"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09E00A7F-508C-4C5A-8F92-3DF5A4D93ED0}">
      <dgm:prSet phldrT="[Text]" custT="1"/>
      <dgm:spPr>
        <a:solidFill>
          <a:schemeClr val="accent1">
            <a:lumMod val="25000"/>
          </a:schemeClr>
        </a:solidFill>
      </dgm:spPr>
      <dgm:t>
        <a:bodyPr/>
        <a:lstStyle/>
        <a:p>
          <a:r>
            <a:rPr lang="en-US" sz="2000">
              <a:latin typeface="Calibri" panose="020F0502020204030204" pitchFamily="34" charset="0"/>
              <a:cs typeface="Calibri" panose="020F0502020204030204" pitchFamily="34" charset="0"/>
            </a:rPr>
            <a:t>National masterplan development</a:t>
          </a:r>
        </a:p>
      </dgm:t>
    </dgm:pt>
    <dgm:pt modelId="{EB171372-AD81-4353-8F56-088F5C2DA937}" type="parTrans" cxnId="{5C448CEB-C486-44FB-B341-2584ECB1F934}">
      <dgm:prSet/>
      <dgm:spPr/>
      <dgm:t>
        <a:bodyPr/>
        <a:lstStyle/>
        <a:p>
          <a:endParaRPr lang="en-US" sz="2000"/>
        </a:p>
      </dgm:t>
    </dgm:pt>
    <dgm:pt modelId="{DF5F641E-D7DC-4E39-ACA3-CB3B6E3D985B}" type="sibTrans" cxnId="{5C448CEB-C486-44FB-B341-2584ECB1F934}">
      <dgm:prSet/>
      <dgm:spPr/>
      <dgm:t>
        <a:bodyPr/>
        <a:lstStyle/>
        <a:p>
          <a:endParaRPr lang="en-US" sz="2000"/>
        </a:p>
      </dgm:t>
    </dgm:pt>
    <dgm:pt modelId="{14BC61A3-8586-49E4-B620-3B48E4DC3458}">
      <dgm:prSet phldrT="[Text]" custT="1"/>
      <dgm:spPr>
        <a:solidFill>
          <a:schemeClr val="accent1">
            <a:lumMod val="25000"/>
          </a:schemeClr>
        </a:solidFill>
      </dgm:spPr>
      <dgm:t>
        <a:bodyPr/>
        <a:lstStyle/>
        <a:p>
          <a:r>
            <a:rPr lang="en-US" sz="2000">
              <a:latin typeface="Calibri" panose="020F0502020204030204" pitchFamily="34" charset="0"/>
              <a:cs typeface="Calibri" panose="020F0502020204030204" pitchFamily="34" charset="0"/>
            </a:rPr>
            <a:t>Regional model analysis and planning</a:t>
          </a:r>
        </a:p>
      </dgm:t>
    </dgm:pt>
    <dgm:pt modelId="{9CD27625-9D1A-42F7-89D7-45524E642CB4}" type="parTrans" cxnId="{DE3E502E-629D-4185-8D4B-1EA96A7B54F4}">
      <dgm:prSet/>
      <dgm:spPr/>
      <dgm:t>
        <a:bodyPr/>
        <a:lstStyle/>
        <a:p>
          <a:endParaRPr lang="en-US" sz="2000"/>
        </a:p>
      </dgm:t>
    </dgm:pt>
    <dgm:pt modelId="{A61A80C7-8861-4FFA-A757-52321966B62C}" type="sibTrans" cxnId="{DE3E502E-629D-4185-8D4B-1EA96A7B54F4}">
      <dgm:prSet/>
      <dgm:spPr/>
      <dgm:t>
        <a:bodyPr/>
        <a:lstStyle/>
        <a:p>
          <a:endParaRPr lang="en-US" sz="2000"/>
        </a:p>
      </dgm:t>
    </dgm:pt>
    <dgm:pt modelId="{58E16A56-A9BC-452A-A1BC-1E14460661B6}">
      <dgm:prSet phldrT="[Text]" custT="1"/>
      <dgm:spPr>
        <a:solidFill>
          <a:schemeClr val="accent1">
            <a:lumMod val="25000"/>
          </a:schemeClr>
        </a:solidFill>
      </dgm:spPr>
      <dgm:t>
        <a:bodyPr/>
        <a:lstStyle/>
        <a:p>
          <a:r>
            <a:rPr lang="en-US" sz="2000">
              <a:latin typeface="Calibri" panose="020F0502020204030204" pitchFamily="34" charset="0"/>
              <a:cs typeface="Calibri" panose="020F0502020204030204" pitchFamily="34" charset="0"/>
            </a:rPr>
            <a:t>Energy planning for NDCs</a:t>
          </a:r>
        </a:p>
      </dgm:t>
    </dgm:pt>
    <dgm:pt modelId="{432F06BC-99B7-47F0-BFE5-1EAF8F6D410B}" type="parTrans" cxnId="{80ABD453-98CF-4FD2-91CE-A7FE88A890BC}">
      <dgm:prSet/>
      <dgm:spPr/>
      <dgm:t>
        <a:bodyPr/>
        <a:lstStyle/>
        <a:p>
          <a:endParaRPr lang="en-US" sz="2000"/>
        </a:p>
      </dgm:t>
    </dgm:pt>
    <dgm:pt modelId="{5991753D-FAFB-49B1-87EF-44C77D4774A0}" type="sibTrans" cxnId="{80ABD453-98CF-4FD2-91CE-A7FE88A890BC}">
      <dgm:prSet/>
      <dgm:spPr/>
      <dgm:t>
        <a:bodyPr/>
        <a:lstStyle/>
        <a:p>
          <a:endParaRPr lang="en-US" sz="2000"/>
        </a:p>
      </dgm:t>
    </dgm:pt>
    <dgm:pt modelId="{23ED54C7-30E6-437E-B956-EB04F23E287F}" type="pres">
      <dgm:prSet presAssocID="{BC283B94-322D-4ED5-8271-A9C16D569148}" presName="linearFlow" presStyleCnt="0">
        <dgm:presLayoutVars>
          <dgm:dir/>
          <dgm:resizeHandles val="exact"/>
        </dgm:presLayoutVars>
      </dgm:prSet>
      <dgm:spPr/>
    </dgm:pt>
    <dgm:pt modelId="{C6BCE8E1-2A30-41AE-93E1-D3D6128F674C}" type="pres">
      <dgm:prSet presAssocID="{09E00A7F-508C-4C5A-8F92-3DF5A4D93ED0}" presName="composite" presStyleCnt="0"/>
      <dgm:spPr/>
    </dgm:pt>
    <dgm:pt modelId="{08899B99-EB87-44A8-BC30-3EE173623D69}" type="pres">
      <dgm:prSet presAssocID="{09E00A7F-508C-4C5A-8F92-3DF5A4D93ED0}" presName="imgShp"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dgm:spPr>
      <dgm:extLst>
        <a:ext uri="{E40237B7-FDA0-4F09-8148-C483321AD2D9}">
          <dgm14:cNvPr xmlns:dgm14="http://schemas.microsoft.com/office/drawing/2010/diagram" id="0" name="" descr="Solar panels on sunny day"/>
        </a:ext>
      </dgm:extLst>
    </dgm:pt>
    <dgm:pt modelId="{0E8B65E6-1FC0-458B-87AF-96AEF1774819}" type="pres">
      <dgm:prSet presAssocID="{09E00A7F-508C-4C5A-8F92-3DF5A4D93ED0}" presName="txShp" presStyleLbl="node1" presStyleIdx="0" presStyleCnt="3">
        <dgm:presLayoutVars>
          <dgm:bulletEnabled val="1"/>
        </dgm:presLayoutVars>
      </dgm:prSet>
      <dgm:spPr/>
    </dgm:pt>
    <dgm:pt modelId="{CFD26086-5D1D-4429-ABCA-57B2DAFA99D9}" type="pres">
      <dgm:prSet presAssocID="{DF5F641E-D7DC-4E39-ACA3-CB3B6E3D985B}" presName="spacing" presStyleCnt="0"/>
      <dgm:spPr/>
    </dgm:pt>
    <dgm:pt modelId="{F654ED5F-287C-43F2-B500-55D3440DA7E3}" type="pres">
      <dgm:prSet presAssocID="{14BC61A3-8586-49E4-B620-3B48E4DC3458}" presName="composite" presStyleCnt="0"/>
      <dgm:spPr/>
    </dgm:pt>
    <dgm:pt modelId="{63B5BF8F-EB7A-45F7-A807-7B871305E89D}" type="pres">
      <dgm:prSet presAssocID="{14BC61A3-8586-49E4-B620-3B48E4DC3458}" presName="imgShp"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dgm:spPr>
    </dgm:pt>
    <dgm:pt modelId="{E413BC8F-4898-48E7-9118-3E8E70688F66}" type="pres">
      <dgm:prSet presAssocID="{14BC61A3-8586-49E4-B620-3B48E4DC3458}" presName="txShp" presStyleLbl="node1" presStyleIdx="1" presStyleCnt="3">
        <dgm:presLayoutVars>
          <dgm:bulletEnabled val="1"/>
        </dgm:presLayoutVars>
      </dgm:prSet>
      <dgm:spPr/>
    </dgm:pt>
    <dgm:pt modelId="{B359805D-F9AD-4923-A1AB-51E65D20BFC4}" type="pres">
      <dgm:prSet presAssocID="{A61A80C7-8861-4FFA-A757-52321966B62C}" presName="spacing" presStyleCnt="0"/>
      <dgm:spPr/>
    </dgm:pt>
    <dgm:pt modelId="{C379BCBF-B2A7-4EF0-91A5-FBC08C942544}" type="pres">
      <dgm:prSet presAssocID="{58E16A56-A9BC-452A-A1BC-1E14460661B6}" presName="composite" presStyleCnt="0"/>
      <dgm:spPr/>
    </dgm:pt>
    <dgm:pt modelId="{2281532C-15F9-4203-B57C-55C5660A799C}" type="pres">
      <dgm:prSet presAssocID="{58E16A56-A9BC-452A-A1BC-1E14460661B6}" presName="imgShp"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extLst>
        <a:ext uri="{E40237B7-FDA0-4F09-8148-C483321AD2D9}">
          <dgm14:cNvPr xmlns:dgm14="http://schemas.microsoft.com/office/drawing/2010/diagram" id="0" name="" descr="Industrial smokestack"/>
        </a:ext>
      </dgm:extLst>
    </dgm:pt>
    <dgm:pt modelId="{52ABCF2A-BBB9-4F99-9D94-35D790CBA1F8}" type="pres">
      <dgm:prSet presAssocID="{58E16A56-A9BC-452A-A1BC-1E14460661B6}" presName="txShp" presStyleLbl="node1" presStyleIdx="2" presStyleCnt="3">
        <dgm:presLayoutVars>
          <dgm:bulletEnabled val="1"/>
        </dgm:presLayoutVars>
      </dgm:prSet>
      <dgm:spPr/>
    </dgm:pt>
  </dgm:ptLst>
  <dgm:cxnLst>
    <dgm:cxn modelId="{DE3E502E-629D-4185-8D4B-1EA96A7B54F4}" srcId="{BC283B94-322D-4ED5-8271-A9C16D569148}" destId="{14BC61A3-8586-49E4-B620-3B48E4DC3458}" srcOrd="1" destOrd="0" parTransId="{9CD27625-9D1A-42F7-89D7-45524E642CB4}" sibTransId="{A61A80C7-8861-4FFA-A757-52321966B62C}"/>
    <dgm:cxn modelId="{3C4E8A5D-E289-4D6B-A6A4-FD6252D52E95}" type="presOf" srcId="{BC283B94-322D-4ED5-8271-A9C16D569148}" destId="{23ED54C7-30E6-437E-B956-EB04F23E287F}" srcOrd="0" destOrd="0" presId="urn:microsoft.com/office/officeart/2005/8/layout/vList3"/>
    <dgm:cxn modelId="{80ABD453-98CF-4FD2-91CE-A7FE88A890BC}" srcId="{BC283B94-322D-4ED5-8271-A9C16D569148}" destId="{58E16A56-A9BC-452A-A1BC-1E14460661B6}" srcOrd="2" destOrd="0" parTransId="{432F06BC-99B7-47F0-BFE5-1EAF8F6D410B}" sibTransId="{5991753D-FAFB-49B1-87EF-44C77D4774A0}"/>
    <dgm:cxn modelId="{2A1D3D9D-92D2-4300-AFD3-1C44A2274864}" type="presOf" srcId="{58E16A56-A9BC-452A-A1BC-1E14460661B6}" destId="{52ABCF2A-BBB9-4F99-9D94-35D790CBA1F8}" srcOrd="0" destOrd="0" presId="urn:microsoft.com/office/officeart/2005/8/layout/vList3"/>
    <dgm:cxn modelId="{849390C0-16E6-4DFB-9340-99471B9A4D2D}" type="presOf" srcId="{14BC61A3-8586-49E4-B620-3B48E4DC3458}" destId="{E413BC8F-4898-48E7-9118-3E8E70688F66}" srcOrd="0" destOrd="0" presId="urn:microsoft.com/office/officeart/2005/8/layout/vList3"/>
    <dgm:cxn modelId="{5C448CEB-C486-44FB-B341-2584ECB1F934}" srcId="{BC283B94-322D-4ED5-8271-A9C16D569148}" destId="{09E00A7F-508C-4C5A-8F92-3DF5A4D93ED0}" srcOrd="0" destOrd="0" parTransId="{EB171372-AD81-4353-8F56-088F5C2DA937}" sibTransId="{DF5F641E-D7DC-4E39-ACA3-CB3B6E3D985B}"/>
    <dgm:cxn modelId="{A5A12FF8-37FD-4E83-A2DB-C38880F6457E}" type="presOf" srcId="{09E00A7F-508C-4C5A-8F92-3DF5A4D93ED0}" destId="{0E8B65E6-1FC0-458B-87AF-96AEF1774819}" srcOrd="0" destOrd="0" presId="urn:microsoft.com/office/officeart/2005/8/layout/vList3"/>
    <dgm:cxn modelId="{4721522F-6383-476C-A19E-B3802FB4EC5B}" type="presParOf" srcId="{23ED54C7-30E6-437E-B956-EB04F23E287F}" destId="{C6BCE8E1-2A30-41AE-93E1-D3D6128F674C}" srcOrd="0" destOrd="0" presId="urn:microsoft.com/office/officeart/2005/8/layout/vList3"/>
    <dgm:cxn modelId="{2C0A1B23-5D06-4046-A758-B8F4D2E34B30}" type="presParOf" srcId="{C6BCE8E1-2A30-41AE-93E1-D3D6128F674C}" destId="{08899B99-EB87-44A8-BC30-3EE173623D69}" srcOrd="0" destOrd="0" presId="urn:microsoft.com/office/officeart/2005/8/layout/vList3"/>
    <dgm:cxn modelId="{910ABE0B-19AA-4E25-86FA-289EF6227A04}" type="presParOf" srcId="{C6BCE8E1-2A30-41AE-93E1-D3D6128F674C}" destId="{0E8B65E6-1FC0-458B-87AF-96AEF1774819}" srcOrd="1" destOrd="0" presId="urn:microsoft.com/office/officeart/2005/8/layout/vList3"/>
    <dgm:cxn modelId="{B033622A-F8EE-4462-B429-872711C49685}" type="presParOf" srcId="{23ED54C7-30E6-437E-B956-EB04F23E287F}" destId="{CFD26086-5D1D-4429-ABCA-57B2DAFA99D9}" srcOrd="1" destOrd="0" presId="urn:microsoft.com/office/officeart/2005/8/layout/vList3"/>
    <dgm:cxn modelId="{C4838F21-A8A1-4DB4-B4A5-4C0B32130871}" type="presParOf" srcId="{23ED54C7-30E6-437E-B956-EB04F23E287F}" destId="{F654ED5F-287C-43F2-B500-55D3440DA7E3}" srcOrd="2" destOrd="0" presId="urn:microsoft.com/office/officeart/2005/8/layout/vList3"/>
    <dgm:cxn modelId="{7097FCBD-57D5-409E-9D2D-337374E20BCB}" type="presParOf" srcId="{F654ED5F-287C-43F2-B500-55D3440DA7E3}" destId="{63B5BF8F-EB7A-45F7-A807-7B871305E89D}" srcOrd="0" destOrd="0" presId="urn:microsoft.com/office/officeart/2005/8/layout/vList3"/>
    <dgm:cxn modelId="{A512393D-BC71-4E1E-9076-3D6F07602CE8}" type="presParOf" srcId="{F654ED5F-287C-43F2-B500-55D3440DA7E3}" destId="{E413BC8F-4898-48E7-9118-3E8E70688F66}" srcOrd="1" destOrd="0" presId="urn:microsoft.com/office/officeart/2005/8/layout/vList3"/>
    <dgm:cxn modelId="{5B6A1486-6EE8-45CB-9DE6-8BEBFEE19DBE}" type="presParOf" srcId="{23ED54C7-30E6-437E-B956-EB04F23E287F}" destId="{B359805D-F9AD-4923-A1AB-51E65D20BFC4}" srcOrd="3" destOrd="0" presId="urn:microsoft.com/office/officeart/2005/8/layout/vList3"/>
    <dgm:cxn modelId="{13079D02-BCD9-4895-A5B6-EC67CA24AC43}" type="presParOf" srcId="{23ED54C7-30E6-437E-B956-EB04F23E287F}" destId="{C379BCBF-B2A7-4EF0-91A5-FBC08C942544}" srcOrd="4" destOrd="0" presId="urn:microsoft.com/office/officeart/2005/8/layout/vList3"/>
    <dgm:cxn modelId="{8A7AEDEE-4428-4CCF-BF5E-AA3571FC66F2}" type="presParOf" srcId="{C379BCBF-B2A7-4EF0-91A5-FBC08C942544}" destId="{2281532C-15F9-4203-B57C-55C5660A799C}" srcOrd="0" destOrd="0" presId="urn:microsoft.com/office/officeart/2005/8/layout/vList3"/>
    <dgm:cxn modelId="{2685F1E8-B02B-42D2-B0C1-3D105D0509E6}" type="presParOf" srcId="{C379BCBF-B2A7-4EF0-91A5-FBC08C942544}" destId="{52ABCF2A-BBB9-4F99-9D94-35D790CBA1F8}"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8B65E6-1FC0-458B-87AF-96AEF1774819}">
      <dsp:nvSpPr>
        <dsp:cNvPr id="0" name=""/>
        <dsp:cNvSpPr/>
      </dsp:nvSpPr>
      <dsp:spPr>
        <a:xfrm rot="10800000">
          <a:off x="984735" y="874"/>
          <a:ext cx="2761900" cy="1156274"/>
        </a:xfrm>
        <a:prstGeom prst="homePlate">
          <a:avLst/>
        </a:prstGeom>
        <a:solidFill>
          <a:schemeClr val="accent1">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9885"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Calibri" panose="020F0502020204030204" pitchFamily="34" charset="0"/>
              <a:cs typeface="Calibri" panose="020F0502020204030204" pitchFamily="34" charset="0"/>
            </a:rPr>
            <a:t>National masterplan development</a:t>
          </a:r>
        </a:p>
      </dsp:txBody>
      <dsp:txXfrm rot="10800000">
        <a:off x="1273803" y="874"/>
        <a:ext cx="2472832" cy="1156274"/>
      </dsp:txXfrm>
    </dsp:sp>
    <dsp:sp modelId="{08899B99-EB87-44A8-BC30-3EE173623D69}">
      <dsp:nvSpPr>
        <dsp:cNvPr id="0" name=""/>
        <dsp:cNvSpPr/>
      </dsp:nvSpPr>
      <dsp:spPr>
        <a:xfrm>
          <a:off x="406598" y="874"/>
          <a:ext cx="1156274" cy="1156274"/>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413BC8F-4898-48E7-9118-3E8E70688F66}">
      <dsp:nvSpPr>
        <dsp:cNvPr id="0" name=""/>
        <dsp:cNvSpPr/>
      </dsp:nvSpPr>
      <dsp:spPr>
        <a:xfrm rot="10800000">
          <a:off x="984735" y="1502305"/>
          <a:ext cx="2761900" cy="1156274"/>
        </a:xfrm>
        <a:prstGeom prst="homePlate">
          <a:avLst/>
        </a:prstGeom>
        <a:solidFill>
          <a:schemeClr val="accent1">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9885"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Calibri" panose="020F0502020204030204" pitchFamily="34" charset="0"/>
              <a:cs typeface="Calibri" panose="020F0502020204030204" pitchFamily="34" charset="0"/>
            </a:rPr>
            <a:t>Regional model analysis and planning</a:t>
          </a:r>
        </a:p>
      </dsp:txBody>
      <dsp:txXfrm rot="10800000">
        <a:off x="1273803" y="1502305"/>
        <a:ext cx="2472832" cy="1156274"/>
      </dsp:txXfrm>
    </dsp:sp>
    <dsp:sp modelId="{63B5BF8F-EB7A-45F7-A807-7B871305E89D}">
      <dsp:nvSpPr>
        <dsp:cNvPr id="0" name=""/>
        <dsp:cNvSpPr/>
      </dsp:nvSpPr>
      <dsp:spPr>
        <a:xfrm>
          <a:off x="406598" y="1502305"/>
          <a:ext cx="1156274" cy="1156274"/>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2000" b="-2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2ABCF2A-BBB9-4F99-9D94-35D790CBA1F8}">
      <dsp:nvSpPr>
        <dsp:cNvPr id="0" name=""/>
        <dsp:cNvSpPr/>
      </dsp:nvSpPr>
      <dsp:spPr>
        <a:xfrm rot="10800000">
          <a:off x="984735" y="3003736"/>
          <a:ext cx="2761900" cy="1156274"/>
        </a:xfrm>
        <a:prstGeom prst="homePlate">
          <a:avLst/>
        </a:prstGeom>
        <a:solidFill>
          <a:schemeClr val="accent1">
            <a:lumMod val="2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09885" tIns="76200" rIns="14224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Calibri" panose="020F0502020204030204" pitchFamily="34" charset="0"/>
              <a:cs typeface="Calibri" panose="020F0502020204030204" pitchFamily="34" charset="0"/>
            </a:rPr>
            <a:t>Energy planning for NDCs</a:t>
          </a:r>
        </a:p>
      </dsp:txBody>
      <dsp:txXfrm rot="10800000">
        <a:off x="1273803" y="3003736"/>
        <a:ext cx="2472832" cy="1156274"/>
      </dsp:txXfrm>
    </dsp:sp>
    <dsp:sp modelId="{2281532C-15F9-4203-B57C-55C5660A799C}">
      <dsp:nvSpPr>
        <dsp:cNvPr id="0" name=""/>
        <dsp:cNvSpPr/>
      </dsp:nvSpPr>
      <dsp:spPr>
        <a:xfrm>
          <a:off x="406598" y="3003736"/>
          <a:ext cx="1156274" cy="1156274"/>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396ABC-7E5E-4E64-82B8-E139F1B60FE4}" type="datetimeFigureOut">
              <a:rPr lang="en-GB" smtClean="0"/>
              <a:t>18/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496FCD-789D-427F-97F6-66F41EECD4F7}" type="slidenum">
              <a:rPr lang="en-GB" smtClean="0"/>
              <a:t>‹#›</a:t>
            </a:fld>
            <a:endParaRPr lang="en-GB"/>
          </a:p>
        </p:txBody>
      </p:sp>
    </p:spTree>
    <p:extLst>
      <p:ext uri="{BB962C8B-B14F-4D97-AF65-F5344CB8AC3E}">
        <p14:creationId xmlns:p14="http://schemas.microsoft.com/office/powerpoint/2010/main" val="23056574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35C5E-4432-9842-9A51-9913977BD8E7}"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3242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07000"/>
              </a:lnSpc>
              <a:spcBef>
                <a:spcPts val="0"/>
              </a:spcBef>
              <a:spcAft>
                <a:spcPts val="800"/>
              </a:spcAft>
              <a:buFont typeface="+mj-lt"/>
              <a:buNone/>
            </a:pPr>
            <a:r>
              <a:rPr lang="en-US" sz="2000" b="1">
                <a:effectLst/>
                <a:latin typeface="Calibri" panose="020F0502020204030204" pitchFamily="34" charset="0"/>
                <a:ea typeface="Calibri" panose="020F0502020204030204" pitchFamily="34" charset="0"/>
                <a:cs typeface="Calibri" panose="020F0502020204030204" pitchFamily="34" charset="0"/>
              </a:rPr>
              <a:t>2. </a:t>
            </a:r>
            <a:r>
              <a:rPr lang="en-US" sz="3200" b="0" i="0">
                <a:solidFill>
                  <a:srgbClr val="000000"/>
                </a:solidFill>
                <a:effectLst/>
                <a:latin typeface="Arial" panose="020B0604020202020204" pitchFamily="34" charset="0"/>
              </a:rPr>
              <a:t> Nigeria and South Africa are developing strategies for increasing the share of biogas, biofuels, concentrated solar power (CSP), and geothermal in their energy mix. In addition, Egypt, Eswatini, and Ghana have adopted energy efficiency programs such as electric mobility programs and the promotion of appliances powered by electricity generated by the local agriculture sector. So, these countries have more ambitious renewable energy targets for the expansion of generation, transmission, and distribution.</a:t>
            </a:r>
          </a:p>
          <a:p>
            <a:pPr marL="0" marR="0" lvl="0" indent="0" algn="just">
              <a:lnSpc>
                <a:spcPct val="107000"/>
              </a:lnSpc>
              <a:spcBef>
                <a:spcPts val="0"/>
              </a:spcBef>
              <a:spcAft>
                <a:spcPts val="800"/>
              </a:spcAft>
              <a:buFont typeface="+mj-lt"/>
              <a:buNone/>
            </a:pPr>
            <a:endParaRPr lang="en-US" sz="2000" b="1">
              <a:effectLst/>
              <a:latin typeface="Calibri" panose="020F0502020204030204" pitchFamily="34" charset="0"/>
              <a:ea typeface="Calibri" panose="020F0502020204030204" pitchFamily="34" charset="0"/>
              <a:cs typeface="Calibri" panose="020F0502020204030204" pitchFamily="34" charset="0"/>
            </a:endParaRPr>
          </a:p>
          <a:p>
            <a:pPr marL="0" marR="0" lvl="0" indent="0" algn="just">
              <a:lnSpc>
                <a:spcPct val="107000"/>
              </a:lnSpc>
              <a:spcBef>
                <a:spcPts val="0"/>
              </a:spcBef>
              <a:spcAft>
                <a:spcPts val="800"/>
              </a:spcAft>
              <a:buFont typeface="+mj-lt"/>
              <a:buNone/>
            </a:pPr>
            <a:r>
              <a:rPr lang="en-US" sz="2000" b="1">
                <a:effectLst/>
                <a:latin typeface="Calibri" panose="020F0502020204030204" pitchFamily="34" charset="0"/>
                <a:ea typeface="Calibri" panose="020F0502020204030204" pitchFamily="34" charset="0"/>
                <a:cs typeface="Calibri" panose="020F0502020204030204" pitchFamily="34" charset="0"/>
              </a:rPr>
              <a:t>3. </a:t>
            </a:r>
            <a:r>
              <a:rPr lang="en-US" sz="3200" b="0" i="0">
                <a:solidFill>
                  <a:srgbClr val="000000"/>
                </a:solidFill>
                <a:effectLst/>
                <a:latin typeface="Arial" panose="020B0604020202020204" pitchFamily="34" charset="0"/>
              </a:rPr>
              <a:t>The countries that acknowledge the importance of transparency and effective communication with the public when using scenarios to inform investment and policy decisions are Botswana, Egypt, Ghana, Kenya, and Morocco. These countries have established various channels and mechanisms to communicate their long-term energy scenarios with stakeholders, hold workshops, and engage the public through diverse media. They recognize that publicizing scenario development and energy policy contributes to transparency and accountability by building trust around the energy planning process.</a:t>
            </a:r>
          </a:p>
          <a:p>
            <a:pPr marL="0" marR="0" lvl="0" indent="0" algn="just">
              <a:lnSpc>
                <a:spcPct val="107000"/>
              </a:lnSpc>
              <a:spcBef>
                <a:spcPts val="0"/>
              </a:spcBef>
              <a:spcAft>
                <a:spcPts val="800"/>
              </a:spcAft>
              <a:buFont typeface="+mj-lt"/>
              <a:buNone/>
            </a:pPr>
            <a:r>
              <a:rPr lang="en-US" sz="3200" b="1" i="0">
                <a:solidFill>
                  <a:srgbClr val="000000"/>
                </a:solidFill>
                <a:effectLst/>
                <a:latin typeface="Arial" panose="020B0604020202020204" pitchFamily="34" charset="0"/>
                <a:ea typeface="Calibri" panose="020F0502020204030204" pitchFamily="34" charset="0"/>
                <a:cs typeface="Calibri" panose="020F0502020204030204" pitchFamily="34" charset="0"/>
              </a:rPr>
              <a:t>4. </a:t>
            </a:r>
            <a:r>
              <a:rPr lang="en-US" sz="3200" b="0" i="0">
                <a:solidFill>
                  <a:srgbClr val="000000"/>
                </a:solidFill>
                <a:effectLst/>
                <a:latin typeface="Arial" panose="020B0604020202020204" pitchFamily="34" charset="0"/>
              </a:rPr>
              <a:t>The countries that acknowledged the importance of building the right type of scenario capacity in government to strengthen capacity for mid-to long-term energy planning are Botswana, Morocco, Nigeria, South Africa, and Tunisia.</a:t>
            </a:r>
            <a:endParaRPr lang="en-US" sz="2000" b="1">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1B8BF35A-4930-46A7-8167-57C9F8BE5639}" type="slidenum">
              <a:rPr lang="en-US" smtClean="0"/>
              <a:t>13</a:t>
            </a:fld>
            <a:endParaRPr lang="en-US"/>
          </a:p>
        </p:txBody>
      </p:sp>
    </p:spTree>
    <p:extLst>
      <p:ext uri="{BB962C8B-B14F-4D97-AF65-F5344CB8AC3E}">
        <p14:creationId xmlns:p14="http://schemas.microsoft.com/office/powerpoint/2010/main" val="2982749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800"/>
              </a:spcAft>
            </a:pPr>
            <a:r>
              <a:rPr lang="en-US" sz="1200">
                <a:latin typeface="Calibri" panose="020F0502020204030204" pitchFamily="34" charset="0"/>
                <a:cs typeface="Calibri" panose="020F0502020204030204" pitchFamily="34" charset="0"/>
              </a:rPr>
              <a:t>Note to clarify the documents were the basis of national energy planning in the respective countries and were highlighted alongside the governance structure</a:t>
            </a:r>
          </a:p>
          <a:p>
            <a:pPr>
              <a:spcAft>
                <a:spcPts val="1800"/>
              </a:spcAft>
            </a:pPr>
            <a:endParaRPr lang="en-US" sz="1200">
              <a:latin typeface="Calibri" panose="020F0502020204030204" pitchFamily="34" charset="0"/>
              <a:cs typeface="Calibri" panose="020F0502020204030204" pitchFamily="34" charset="0"/>
            </a:endParaRPr>
          </a:p>
          <a:p>
            <a:pPr>
              <a:spcAft>
                <a:spcPts val="1800"/>
              </a:spcAft>
            </a:pPr>
            <a:r>
              <a:rPr lang="en-US" sz="1200">
                <a:latin typeface="Calibri" panose="020F0502020204030204" pitchFamily="34" charset="0"/>
                <a:cs typeface="Calibri" panose="020F0502020204030204" pitchFamily="34" charset="0"/>
              </a:rPr>
              <a:t>The report summarizes the knowledge gathered in the webinar series on ‘Long term energy scenarios (LTES) for developing national energy transition plans in Africa’ </a:t>
            </a:r>
          </a:p>
          <a:p>
            <a:pPr algn="l">
              <a:spcAft>
                <a:spcPts val="1800"/>
              </a:spcAft>
            </a:pPr>
            <a:r>
              <a:rPr lang="en-US" sz="1200">
                <a:latin typeface="Calibri" panose="020F0502020204030204" pitchFamily="34" charset="0"/>
                <a:cs typeface="Calibri" panose="020F0502020204030204" pitchFamily="34" charset="0"/>
              </a:rPr>
              <a:t>The report highlights how African countries are governing the development and the use of LTES to plan the energy transition</a:t>
            </a:r>
          </a:p>
          <a:p>
            <a:pPr algn="l">
              <a:spcAft>
                <a:spcPts val="1800"/>
              </a:spcAft>
            </a:pPr>
            <a:r>
              <a:rPr lang="en-US" sz="1200">
                <a:latin typeface="Calibri" panose="020F0502020204030204" pitchFamily="34" charset="0"/>
                <a:cs typeface="Calibri" panose="020F0502020204030204" pitchFamily="34" charset="0"/>
              </a:rPr>
              <a:t>Nine African countries participated in the webinar series: Botswana, Egypt, Eswatini, Ghana, Kenya, Morocco, Nigeria, South Africa and Tunisia. </a:t>
            </a:r>
          </a:p>
          <a:p>
            <a:pPr algn="l">
              <a:spcAft>
                <a:spcPts val="1800"/>
              </a:spcAft>
            </a:pPr>
            <a:r>
              <a:rPr lang="en-US" sz="1200">
                <a:latin typeface="Calibri" panose="020F0502020204030204" pitchFamily="34" charset="0"/>
                <a:cs typeface="Calibri" panose="020F0502020204030204" pitchFamily="34" charset="0"/>
              </a:rPr>
              <a:t>To complement the national presentations, the regional organizations/power pools also contributed, exhibiting their experiences at regional level.</a:t>
            </a:r>
          </a:p>
          <a:p>
            <a:endParaRPr lang="en-US"/>
          </a:p>
        </p:txBody>
      </p:sp>
      <p:sp>
        <p:nvSpPr>
          <p:cNvPr id="4" name="Slide Number Placeholder 3"/>
          <p:cNvSpPr>
            <a:spLocks noGrp="1"/>
          </p:cNvSpPr>
          <p:nvPr>
            <p:ph type="sldNum" sz="quarter" idx="5"/>
          </p:nvPr>
        </p:nvSpPr>
        <p:spPr/>
        <p:txBody>
          <a:bodyPr/>
          <a:lstStyle/>
          <a:p>
            <a:fld id="{1B8BF35A-4930-46A7-8167-57C9F8BE5639}" type="slidenum">
              <a:rPr lang="en-US" smtClean="0"/>
              <a:t>14</a:t>
            </a:fld>
            <a:endParaRPr lang="en-US"/>
          </a:p>
        </p:txBody>
      </p:sp>
    </p:spTree>
    <p:extLst>
      <p:ext uri="{BB962C8B-B14F-4D97-AF65-F5344CB8AC3E}">
        <p14:creationId xmlns:p14="http://schemas.microsoft.com/office/powerpoint/2010/main" val="5551048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1800">
                <a:effectLst/>
                <a:latin typeface="Segoe UI" panose="020B0502040204020203" pitchFamily="34" charset="0"/>
              </a:rPr>
              <a:t>Egypt has worked with international partners to enhance their capacity and is moving towards in-sourcing their scenario development. </a:t>
            </a:r>
            <a:r>
              <a:rPr lang="en-US" sz="2800"/>
              <a:t>Egypt is transitioning from outsourcing skills to building in-house capacity through the establishment of a local energy modelling unit</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800">
                <a:effectLst/>
                <a:latin typeface="Arial" panose="020B0604020202020204" pitchFamily="34" charset="0"/>
              </a:rPr>
              <a:t>*Do not give a value judgement but mention that every country chooses what works best for them- this is in relation to developing quantitative scenario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800">
                <a:effectLst/>
                <a:latin typeface="Arial" panose="020B0604020202020204" pitchFamily="34" charset="0"/>
              </a:rPr>
              <a:t>International partners include DEA, </a:t>
            </a:r>
            <a:r>
              <a:rPr lang="en-US" sz="2800" err="1">
                <a:effectLst/>
                <a:latin typeface="Arial" panose="020B0604020202020204" pitchFamily="34" charset="0"/>
              </a:rPr>
              <a:t>GET.Transform</a:t>
            </a:r>
            <a:r>
              <a:rPr lang="en-US" sz="2800">
                <a:effectLst/>
                <a:latin typeface="Arial" panose="020B0604020202020204" pitchFamily="34" charset="0"/>
              </a:rPr>
              <a:t> and governments such as the US through NREL</a:t>
            </a:r>
            <a:endParaRPr lang="en-US" sz="1800">
              <a:effectLst/>
              <a:latin typeface="Arial" panose="020B0604020202020204" pitchFamily="34" charset="0"/>
            </a:endParaRPr>
          </a:p>
          <a:p>
            <a:pPr marL="0" indent="0">
              <a:buFontTx/>
              <a:buNone/>
            </a:pPr>
            <a:endParaRPr lang="en-US"/>
          </a:p>
        </p:txBody>
      </p:sp>
      <p:sp>
        <p:nvSpPr>
          <p:cNvPr id="4" name="Slide Number Placeholder 3"/>
          <p:cNvSpPr>
            <a:spLocks noGrp="1"/>
          </p:cNvSpPr>
          <p:nvPr>
            <p:ph type="sldNum" sz="quarter" idx="5"/>
          </p:nvPr>
        </p:nvSpPr>
        <p:spPr/>
        <p:txBody>
          <a:bodyPr/>
          <a:lstStyle/>
          <a:p>
            <a:fld id="{9146C950-43E9-4F42-84AE-16CCE6F982C0}" type="slidenum">
              <a:rPr lang="en-GB" smtClean="0"/>
              <a:t>15</a:t>
            </a:fld>
            <a:endParaRPr lang="en-GB"/>
          </a:p>
        </p:txBody>
      </p:sp>
    </p:spTree>
    <p:extLst>
      <p:ext uri="{BB962C8B-B14F-4D97-AF65-F5344CB8AC3E}">
        <p14:creationId xmlns:p14="http://schemas.microsoft.com/office/powerpoint/2010/main" val="3729976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highlight>
                  <a:srgbClr val="FFFF00"/>
                </a:highlight>
              </a:rPr>
              <a:t>This encompasses the purpose of scenario building and transparent and effective communication</a:t>
            </a:r>
          </a:p>
        </p:txBody>
      </p:sp>
      <p:sp>
        <p:nvSpPr>
          <p:cNvPr id="4" name="Slide Number Placeholder 3"/>
          <p:cNvSpPr>
            <a:spLocks noGrp="1"/>
          </p:cNvSpPr>
          <p:nvPr>
            <p:ph type="sldNum" sz="quarter" idx="5"/>
          </p:nvPr>
        </p:nvSpPr>
        <p:spPr/>
        <p:txBody>
          <a:bodyPr/>
          <a:lstStyle/>
          <a:p>
            <a:fld id="{1B8BF35A-4930-46A7-8167-57C9F8BE5639}" type="slidenum">
              <a:rPr lang="en-US" smtClean="0"/>
              <a:t>16</a:t>
            </a:fld>
            <a:endParaRPr lang="en-US"/>
          </a:p>
        </p:txBody>
      </p:sp>
    </p:spTree>
    <p:extLst>
      <p:ext uri="{BB962C8B-B14F-4D97-AF65-F5344CB8AC3E}">
        <p14:creationId xmlns:p14="http://schemas.microsoft.com/office/powerpoint/2010/main" val="2792181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highlight>
                  <a:srgbClr val="FFFF00"/>
                </a:highlight>
              </a:rPr>
              <a:t>This encompasses governance structures and boundaries of planning</a:t>
            </a:r>
          </a:p>
        </p:txBody>
      </p:sp>
      <p:sp>
        <p:nvSpPr>
          <p:cNvPr id="4" name="Slide Number Placeholder 3"/>
          <p:cNvSpPr>
            <a:spLocks noGrp="1"/>
          </p:cNvSpPr>
          <p:nvPr>
            <p:ph type="sldNum" sz="quarter" idx="5"/>
          </p:nvPr>
        </p:nvSpPr>
        <p:spPr/>
        <p:txBody>
          <a:bodyPr/>
          <a:lstStyle/>
          <a:p>
            <a:fld id="{1B8BF35A-4930-46A7-8167-57C9F8BE5639}" type="slidenum">
              <a:rPr lang="en-US" smtClean="0"/>
              <a:t>17</a:t>
            </a:fld>
            <a:endParaRPr lang="en-US"/>
          </a:p>
        </p:txBody>
      </p:sp>
    </p:spTree>
    <p:extLst>
      <p:ext uri="{BB962C8B-B14F-4D97-AF65-F5344CB8AC3E}">
        <p14:creationId xmlns:p14="http://schemas.microsoft.com/office/powerpoint/2010/main" val="36594210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C04F5E6-41E6-4B45-AEDC-B3037F950FC1}"/>
              </a:ext>
            </a:extLst>
          </p:cNvPr>
          <p:cNvSpPr>
            <a:spLocks noGrp="1"/>
          </p:cNvSpPr>
          <p:nvPr>
            <p:ph type="body" idx="1"/>
          </p:nvPr>
        </p:nvSpPr>
        <p:spPr/>
        <p:txBody>
          <a:bodyPr/>
          <a:lstStyle/>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IRENA supports </a:t>
            </a:r>
            <a:r>
              <a:rPr lang="en-US" sz="1200" b="1">
                <a:latin typeface="Calibri" panose="020F0502020204030204" pitchFamily="34" charset="0"/>
                <a:cs typeface="Calibri" panose="020F0502020204030204" pitchFamily="34" charset="0"/>
              </a:rPr>
              <a:t>building institutional capacity</a:t>
            </a:r>
            <a:r>
              <a:rPr lang="en-US" sz="1200">
                <a:latin typeface="Calibri" panose="020F0502020204030204" pitchFamily="34" charset="0"/>
                <a:cs typeface="Calibri" panose="020F0502020204030204" pitchFamily="34" charset="0"/>
              </a:rPr>
              <a:t> for long-term planning, for countries to devise their own strategies</a:t>
            </a:r>
          </a:p>
          <a:p>
            <a:endParaRPr lang="en-GB"/>
          </a:p>
          <a:p>
            <a:r>
              <a:rPr lang="en-GB"/>
              <a:t>2 key modality of support – tailor made programmes developed together with the partners on the ground (</a:t>
            </a:r>
            <a:r>
              <a:rPr lang="en-GB" err="1"/>
              <a:t>e.g</a:t>
            </a:r>
            <a:r>
              <a:rPr lang="en-GB"/>
              <a:t>, West Africa – ECREEE, Central Africa – CAPP, Eswatini – the government of Eswatini)</a:t>
            </a:r>
          </a:p>
          <a:p>
            <a:endParaRPr lang="en-GB"/>
          </a:p>
          <a:p>
            <a:r>
              <a:rPr lang="en-GB"/>
              <a:t>Other shorter term trainings are provided in cooperation with partner organizations throughout Africa</a:t>
            </a:r>
          </a:p>
          <a:p>
            <a:endParaRPr lang="en-GB"/>
          </a:p>
        </p:txBody>
      </p:sp>
    </p:spTree>
    <p:extLst>
      <p:ext uri="{BB962C8B-B14F-4D97-AF65-F5344CB8AC3E}">
        <p14:creationId xmlns:p14="http://schemas.microsoft.com/office/powerpoint/2010/main" val="38795644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C04F5E6-41E6-4B45-AEDC-B3037F950FC1}"/>
              </a:ext>
            </a:extLst>
          </p:cNvPr>
          <p:cNvSpPr>
            <a:spLocks noGrp="1"/>
          </p:cNvSpPr>
          <p:nvPr>
            <p:ph type="body" idx="1"/>
          </p:nvPr>
        </p:nvSpPr>
        <p:spPr/>
        <p:txBody>
          <a:bodyPr/>
          <a:lstStyle/>
          <a:p>
            <a:r>
              <a:rPr lang="en-US" sz="1200">
                <a:effectLst/>
                <a:latin typeface="Segoe UI" panose="020B0502040204020203" pitchFamily="34" charset="0"/>
              </a:rPr>
              <a:t>Emphasize that our </a:t>
            </a:r>
            <a:r>
              <a:rPr lang="en-US" sz="1200" err="1">
                <a:effectLst/>
                <a:latin typeface="Segoe UI" panose="020B0502040204020203" pitchFamily="34" charset="0"/>
              </a:rPr>
              <a:t>programme</a:t>
            </a:r>
            <a:r>
              <a:rPr lang="en-US" sz="1200">
                <a:effectLst/>
                <a:latin typeface="Segoe UI" panose="020B0502040204020203" pitchFamily="34" charset="0"/>
              </a:rPr>
              <a:t> is to (1) to equip the team with the good planning methods (2) help build </a:t>
            </a:r>
            <a:r>
              <a:rPr lang="en-US" sz="1200" err="1">
                <a:effectLst/>
                <a:latin typeface="Segoe UI" panose="020B0502040204020203" pitchFamily="34" charset="0"/>
              </a:rPr>
              <a:t>institutioal</a:t>
            </a:r>
            <a:r>
              <a:rPr lang="en-US" sz="1200">
                <a:effectLst/>
                <a:latin typeface="Segoe UI" panose="020B0502040204020203" pitchFamily="34" charset="0"/>
              </a:rPr>
              <a:t> planning </a:t>
            </a:r>
            <a:r>
              <a:rPr lang="en-US" sz="1200" err="1">
                <a:effectLst/>
                <a:latin typeface="Segoe UI" panose="020B0502040204020203" pitchFamily="34" charset="0"/>
              </a:rPr>
              <a:t>capcity</a:t>
            </a:r>
            <a:r>
              <a:rPr lang="en-US" sz="1200">
                <a:effectLst/>
                <a:latin typeface="Segoe UI" panose="020B0502040204020203" pitchFamily="34" charset="0"/>
              </a:rPr>
              <a:t> (3) structured programs embedded in </a:t>
            </a:r>
            <a:r>
              <a:rPr lang="en-US" sz="1200" err="1">
                <a:effectLst/>
                <a:latin typeface="Segoe UI" panose="020B0502040204020203" pitchFamily="34" charset="0"/>
              </a:rPr>
              <a:t>thier</a:t>
            </a:r>
            <a:r>
              <a:rPr lang="en-US" sz="1200">
                <a:effectLst/>
                <a:latin typeface="Segoe UI" panose="020B0502040204020203" pitchFamily="34" charset="0"/>
              </a:rPr>
              <a:t> own institutional structure and only as a </a:t>
            </a:r>
            <a:r>
              <a:rPr lang="en-US" sz="1200" err="1">
                <a:effectLst/>
                <a:latin typeface="Segoe UI" panose="020B0502040204020203" pitchFamily="34" charset="0"/>
              </a:rPr>
              <a:t>resullts</a:t>
            </a:r>
            <a:r>
              <a:rPr lang="en-US" sz="1200">
                <a:effectLst/>
                <a:latin typeface="Segoe UI" panose="020B0502040204020203" pitchFamily="34" charset="0"/>
              </a:rPr>
              <a:t> of 1-3, (4) </a:t>
            </a:r>
            <a:r>
              <a:rPr lang="en-US" sz="1200" err="1">
                <a:effectLst/>
                <a:latin typeface="Segoe UI" panose="020B0502040204020203" pitchFamily="34" charset="0"/>
              </a:rPr>
              <a:t>masster</a:t>
            </a:r>
            <a:r>
              <a:rPr lang="en-US" sz="1200">
                <a:effectLst/>
                <a:latin typeface="Segoe UI" panose="020B0502040204020203" pitchFamily="34" charset="0"/>
              </a:rPr>
              <a:t> plan document is drafted by the national members.</a:t>
            </a:r>
            <a:endParaRPr lang="en-US" sz="1200" b="0" i="0">
              <a:solidFill>
                <a:srgbClr val="000000"/>
              </a:solidFill>
              <a:effectLst/>
              <a:latin typeface="Garamond" panose="02020404030301010803" pitchFamily="18" charset="0"/>
            </a:endParaRPr>
          </a:p>
          <a:p>
            <a:endParaRPr lang="en-US" b="0" i="0">
              <a:solidFill>
                <a:srgbClr val="000000"/>
              </a:solidFill>
              <a:effectLst/>
              <a:latin typeface="Garamond" panose="02020404030301010803" pitchFamily="18" charset="0"/>
            </a:endParaRPr>
          </a:p>
          <a:p>
            <a:r>
              <a:rPr lang="en-US" sz="1800">
                <a:effectLst/>
                <a:latin typeface="Segoe UI" panose="020B0502040204020203" pitchFamily="34" charset="0"/>
              </a:rPr>
              <a:t>It is important to recognize that our working modality is quite </a:t>
            </a:r>
            <a:r>
              <a:rPr lang="en-US" sz="1800" err="1">
                <a:effectLst/>
                <a:latin typeface="Segoe UI" panose="020B0502040204020203" pitchFamily="34" charset="0"/>
              </a:rPr>
              <a:t>differnt</a:t>
            </a:r>
            <a:r>
              <a:rPr lang="en-US" sz="1800">
                <a:effectLst/>
                <a:latin typeface="Segoe UI" panose="020B0502040204020203" pitchFamily="34" charset="0"/>
              </a:rPr>
              <a:t> from other organizations. In many other cases, (1) development partners develop the plans, and share the results - and they call it capacity building (2) one or two </a:t>
            </a:r>
            <a:r>
              <a:rPr lang="en-US" sz="1800" err="1">
                <a:effectLst/>
                <a:latin typeface="Segoe UI" panose="020B0502040204020203" pitchFamily="34" charset="0"/>
              </a:rPr>
              <a:t>adhock</a:t>
            </a:r>
            <a:r>
              <a:rPr lang="en-US" sz="1800">
                <a:effectLst/>
                <a:latin typeface="Segoe UI" panose="020B0502040204020203" pitchFamily="34" charset="0"/>
              </a:rPr>
              <a:t> training is given rather than structured </a:t>
            </a:r>
            <a:r>
              <a:rPr lang="en-US" sz="1800" err="1">
                <a:effectLst/>
                <a:latin typeface="Segoe UI" panose="020B0502040204020203" pitchFamily="34" charset="0"/>
              </a:rPr>
              <a:t>programme</a:t>
            </a:r>
            <a:r>
              <a:rPr lang="en-US" sz="1800">
                <a:effectLst/>
                <a:latin typeface="Segoe UI" panose="020B0502040204020203" pitchFamily="34" charset="0"/>
              </a:rPr>
              <a:t> (3) focus on human capacity development rather than institutional capacity development. </a:t>
            </a:r>
            <a:endParaRPr lang="en-US" sz="1800" b="0" i="0">
              <a:solidFill>
                <a:srgbClr val="000000"/>
              </a:solidFill>
              <a:effectLst/>
              <a:latin typeface="Garamond" panose="02020404030301010803" pitchFamily="18" charset="0"/>
            </a:endParaRPr>
          </a:p>
          <a:p>
            <a:endParaRPr lang="en-US" b="0" i="0">
              <a:solidFill>
                <a:srgbClr val="000000"/>
              </a:solidFill>
              <a:effectLst/>
              <a:latin typeface="Garamond" panose="02020404030301010803" pitchFamily="18" charset="0"/>
            </a:endParaRPr>
          </a:p>
          <a:p>
            <a:r>
              <a:rPr lang="en-US" b="0" i="0">
                <a:solidFill>
                  <a:srgbClr val="000000"/>
                </a:solidFill>
                <a:effectLst/>
                <a:latin typeface="Garamond" panose="02020404030301010803" pitchFamily="18" charset="0"/>
              </a:rPr>
              <a:t>To build institutional capacity on energy sector scenario development among public institutions in Senegal’s energy sector and support them with development of a Power Sector Masterplan that supports Senegal’s energy transition planning, building on IRENA’s SPLAT-Africa model for power system capacity expansion planning for all African countries</a:t>
            </a:r>
            <a:endParaRPr lang="en-GB"/>
          </a:p>
        </p:txBody>
      </p:sp>
    </p:spTree>
    <p:extLst>
      <p:ext uri="{BB962C8B-B14F-4D97-AF65-F5344CB8AC3E}">
        <p14:creationId xmlns:p14="http://schemas.microsoft.com/office/powerpoint/2010/main" val="14708841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97936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8E1845-D1C8-2043-9607-B0B8DB0B6088}" type="slidenum">
              <a:rPr lang="en-US" smtClean="0"/>
              <a:t>21</a:t>
            </a:fld>
            <a:endParaRPr lang="en-US"/>
          </a:p>
        </p:txBody>
      </p:sp>
    </p:spTree>
    <p:extLst>
      <p:ext uri="{BB962C8B-B14F-4D97-AF65-F5344CB8AC3E}">
        <p14:creationId xmlns:p14="http://schemas.microsoft.com/office/powerpoint/2010/main" val="2237536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8E1845-D1C8-2043-9607-B0B8DB0B6088}" type="slidenum">
              <a:rPr lang="en-US" smtClean="0"/>
              <a:t>4</a:t>
            </a:fld>
            <a:endParaRPr lang="en-US"/>
          </a:p>
        </p:txBody>
      </p:sp>
    </p:spTree>
    <p:extLst>
      <p:ext uri="{BB962C8B-B14F-4D97-AF65-F5344CB8AC3E}">
        <p14:creationId xmlns:p14="http://schemas.microsoft.com/office/powerpoint/2010/main" val="1885557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noTextEdit="1"/>
          </p:cNvSpPr>
          <p:nvPr>
            <p:ph type="sldImg"/>
          </p:nvPr>
        </p:nvSpPr>
        <p:spPr>
          <a:ln/>
        </p:spPr>
      </p:sp>
      <p:sp>
        <p:nvSpPr>
          <p:cNvPr id="3379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endParaRPr lang="en-US" altLang="en-US">
              <a:ea typeface="MS PGothic" charset="-128"/>
            </a:endParaRPr>
          </a:p>
        </p:txBody>
      </p:sp>
      <p:sp>
        <p:nvSpPr>
          <p:cNvPr id="3379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3E2E4-7090-BF48-86CA-9735270A24EE}" type="slidenum">
              <a:rPr kumimoji="0" lang="de-DE" altLang="en-US" sz="1200" b="0" i="0" u="none" strike="noStrike" kern="1200" cap="none" spc="0" normalizeH="0" baseline="0" noProof="0">
                <a:ln>
                  <a:noFill/>
                </a:ln>
                <a:solidFill>
                  <a:prstClr val="black"/>
                </a:solidFill>
                <a:effectLst/>
                <a:uLnTx/>
                <a:uFillTx/>
                <a:latin typeface="Arial" charset="0"/>
                <a:ea typeface="MS PGothic"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altLang="en-US" sz="1200" b="0" i="0" u="none" strike="noStrike" kern="1200" cap="none" spc="0" normalizeH="0" baseline="0" noProof="0">
              <a:ln>
                <a:noFill/>
              </a:ln>
              <a:solidFill>
                <a:prstClr val="black"/>
              </a:solidFill>
              <a:effectLst/>
              <a:uLnTx/>
              <a:uFillTx/>
              <a:latin typeface="Arial" charset="0"/>
              <a:ea typeface="MS PGothic" charset="-128"/>
              <a:cs typeface="+mn-cs"/>
            </a:endParaRPr>
          </a:p>
        </p:txBody>
      </p:sp>
    </p:spTree>
    <p:extLst>
      <p:ext uri="{BB962C8B-B14F-4D97-AF65-F5344CB8AC3E}">
        <p14:creationId xmlns:p14="http://schemas.microsoft.com/office/powerpoint/2010/main" val="35333562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lide Image Placeholder 1"/>
          <p:cNvSpPr>
            <a:spLocks noGrp="1" noRot="1" noChangeAspect="1" noTextEdit="1"/>
          </p:cNvSpPr>
          <p:nvPr>
            <p:ph type="sldImg"/>
          </p:nvPr>
        </p:nvSpPr>
        <p:spPr>
          <a:ln/>
        </p:spPr>
      </p:sp>
      <p:sp>
        <p:nvSpPr>
          <p:cNvPr id="33794"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marL="457200" indent="-457200">
              <a:buFont typeface="Arial" panose="020B0604020202020204" pitchFamily="34" charset="0"/>
              <a:buChar char="•"/>
            </a:pPr>
            <a:r>
              <a:rPr lang="en-GB" sz="1200">
                <a:latin typeface="Calibri" panose="020F0502020204030204" pitchFamily="34" charset="0"/>
                <a:cs typeface="Calibri" panose="020F0502020204030204" pitchFamily="34" charset="0"/>
              </a:rPr>
              <a:t>Ownership of the skills and processes</a:t>
            </a:r>
          </a:p>
          <a:p>
            <a:pPr marL="457200" indent="-457200">
              <a:buFont typeface="Arial" panose="020B0604020202020204" pitchFamily="34" charset="0"/>
              <a:buChar char="•"/>
            </a:pPr>
            <a:endParaRPr lang="en-GB" sz="120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GB" sz="1200">
                <a:latin typeface="Calibri" panose="020F0502020204030204" pitchFamily="34" charset="0"/>
                <a:cs typeface="Calibri" panose="020F0502020204030204" pitchFamily="34" charset="0"/>
              </a:rPr>
              <a:t>Transparent methodology</a:t>
            </a:r>
          </a:p>
          <a:p>
            <a:pPr marL="457200" indent="-457200">
              <a:buFont typeface="Arial" panose="020B0604020202020204" pitchFamily="34" charset="0"/>
              <a:buChar char="•"/>
            </a:pPr>
            <a:endParaRPr lang="en-GB" sz="120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r>
              <a:rPr lang="en-GB" sz="1200">
                <a:latin typeface="Calibri" panose="020F0502020204030204" pitchFamily="34" charset="0"/>
                <a:cs typeface="Calibri" panose="020F0502020204030204" pitchFamily="34" charset="0"/>
              </a:rPr>
              <a:t>Robust data </a:t>
            </a:r>
          </a:p>
          <a:p>
            <a:endParaRPr lang="en-US" altLang="en-US">
              <a:ea typeface="MS PGothic" charset="-128"/>
            </a:endParaRPr>
          </a:p>
        </p:txBody>
      </p:sp>
      <p:sp>
        <p:nvSpPr>
          <p:cNvPr id="3379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53E2E4-7090-BF48-86CA-9735270A24EE}" type="slidenum">
              <a:rPr kumimoji="0" lang="de-DE" altLang="en-US" sz="1200" b="0" i="0" u="none" strike="noStrike" kern="1200" cap="none" spc="0" normalizeH="0" baseline="0" noProof="0">
                <a:ln>
                  <a:noFill/>
                </a:ln>
                <a:solidFill>
                  <a:prstClr val="black"/>
                </a:solidFill>
                <a:effectLst/>
                <a:uLnTx/>
                <a:uFillTx/>
                <a:latin typeface="Arial" charset="0"/>
                <a:ea typeface="MS PGothic"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altLang="en-US" sz="1200" b="0" i="0" u="none" strike="noStrike" kern="1200" cap="none" spc="0" normalizeH="0" baseline="0" noProof="0">
              <a:ln>
                <a:noFill/>
              </a:ln>
              <a:solidFill>
                <a:prstClr val="black"/>
              </a:solidFill>
              <a:effectLst/>
              <a:uLnTx/>
              <a:uFillTx/>
              <a:latin typeface="Arial" charset="0"/>
              <a:ea typeface="MS PGothic" charset="-128"/>
              <a:cs typeface="+mn-cs"/>
            </a:endParaRPr>
          </a:p>
        </p:txBody>
      </p:sp>
    </p:spTree>
    <p:extLst>
      <p:ext uri="{BB962C8B-B14F-4D97-AF65-F5344CB8AC3E}">
        <p14:creationId xmlns:p14="http://schemas.microsoft.com/office/powerpoint/2010/main" val="780477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implified mental model on how energy scenarios fit into overall energy planning concept. </a:t>
            </a:r>
            <a:r>
              <a:rPr lang="en-US"/>
              <a:t>Scenarios are strategic tools to provide input into policy. We differentiate between energy scenarios and modelling tools- models provide the </a:t>
            </a:r>
            <a:r>
              <a:rPr lang="en-US" err="1"/>
              <a:t>quantitive</a:t>
            </a:r>
            <a:r>
              <a:rPr lang="en-US"/>
              <a:t> aspects and scenarios provide the qualitative we obtain </a:t>
            </a:r>
            <a:r>
              <a:rPr lang="en-US" err="1"/>
              <a:t>qulaitiatve</a:t>
            </a:r>
            <a:r>
              <a:rPr lang="en-US"/>
              <a:t> aspects from stakeholder consultations. This combination provide pathways to inform policies.</a:t>
            </a:r>
            <a:endParaRPr lang="en-US">
              <a:cs typeface="Calibri"/>
            </a:endParaRPr>
          </a:p>
        </p:txBody>
      </p:sp>
      <p:sp>
        <p:nvSpPr>
          <p:cNvPr id="4" name="Slide Number Placeholder 3"/>
          <p:cNvSpPr>
            <a:spLocks noGrp="1"/>
          </p:cNvSpPr>
          <p:nvPr>
            <p:ph type="sldNum" sz="quarter" idx="5"/>
          </p:nvPr>
        </p:nvSpPr>
        <p:spPr/>
        <p:txBody>
          <a:bodyPr/>
          <a:lstStyle/>
          <a:p>
            <a:fld id="{152C44B8-0B65-40C7-B806-E1744B809334}" type="slidenum">
              <a:rPr lang="en-US" smtClean="0"/>
              <a:t>7</a:t>
            </a:fld>
            <a:endParaRPr lang="en-US"/>
          </a:p>
        </p:txBody>
      </p:sp>
    </p:spTree>
    <p:extLst>
      <p:ext uri="{BB962C8B-B14F-4D97-AF65-F5344CB8AC3E}">
        <p14:creationId xmlns:p14="http://schemas.microsoft.com/office/powerpoint/2010/main" val="1360555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Intro of the Long-Term Energy Scenarios Network. </a:t>
            </a:r>
          </a:p>
          <a:p>
            <a:pPr marL="171450" indent="-171450">
              <a:buFont typeface="Arial" panose="020B0604020202020204" pitchFamily="34" charset="0"/>
              <a:buChar char="•"/>
            </a:pPr>
            <a:r>
              <a:rPr lang="en-US"/>
              <a:t>LTES Network provides a global platform for peer-to-peer exchange on long-term energy scenarios (LTES), aiming to promote wider and more effective use of LTES in governments</a:t>
            </a:r>
          </a:p>
          <a:p>
            <a:pPr marL="171450" indent="-171450">
              <a:buFont typeface="Arial" panose="020B0604020202020204" pitchFamily="34" charset="0"/>
              <a:buChar char="•"/>
            </a:pPr>
            <a:r>
              <a:rPr lang="en-US"/>
              <a:t>Initiated in 2018 as a Campaign and later Initiative of the Clean Energy Ministerial, now a Network of 27 government planning institutions and 13 technical partners</a:t>
            </a:r>
          </a:p>
          <a:p>
            <a:pPr marL="171450" indent="-171450">
              <a:buFont typeface="Arial" panose="020B0604020202020204" pitchFamily="34" charset="0"/>
              <a:buChar char="•"/>
            </a:pPr>
            <a:r>
              <a:rPr lang="en-US"/>
              <a:t>The Network gathers knowledge on energy planning practices around the world and disseminates good practices through regional webinars and reports</a:t>
            </a:r>
          </a:p>
          <a:p>
            <a:pPr marL="171450" indent="-171450">
              <a:buFont typeface="Arial" panose="020B0604020202020204" pitchFamily="34" charset="0"/>
              <a:buChar char="•"/>
            </a:pPr>
            <a:r>
              <a:rPr lang="en-US"/>
              <a:t>Also own analysis and research on relevant topics, more on later slides.</a:t>
            </a:r>
          </a:p>
          <a:p>
            <a:pPr marL="171450" indent="-171450">
              <a:buFont typeface="Arial" panose="020B0604020202020204" pitchFamily="34" charset="0"/>
              <a:buChar char="•"/>
            </a:pPr>
            <a:r>
              <a:rPr lang="en-US"/>
              <a:t>The Network brings together a wide variety of perspectives: next to government representatives, we have active exchanges with academia, private and financial institutions, the climate community, and other international </a:t>
            </a:r>
            <a:r>
              <a:rPr lang="en-US" err="1"/>
              <a:t>organisations</a:t>
            </a:r>
            <a:r>
              <a:rPr lang="en-US"/>
              <a:t>. </a:t>
            </a:r>
          </a:p>
          <a:p>
            <a:pPr marL="171450" indent="-171450">
              <a:buFont typeface="Arial" panose="020B0604020202020204" pitchFamily="34" charset="0"/>
              <a:buChar char="•"/>
            </a:pPr>
            <a:r>
              <a:rPr lang="en-US"/>
              <a:t>Therefore there is a clear potential to find synergies with a wide range of actors in the field of the clean energy transition. </a:t>
            </a:r>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9146C950-43E9-4F42-84AE-16CCE6F982C0}" type="slidenum">
              <a:rPr lang="en-GB" smtClean="0"/>
              <a:t>8</a:t>
            </a:fld>
            <a:endParaRPr lang="en-GB"/>
          </a:p>
        </p:txBody>
      </p:sp>
    </p:spTree>
    <p:extLst>
      <p:ext uri="{BB962C8B-B14F-4D97-AF65-F5344CB8AC3E}">
        <p14:creationId xmlns:p14="http://schemas.microsoft.com/office/powerpoint/2010/main" val="3898911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highlight>
                  <a:srgbClr val="FFFF00"/>
                </a:highlight>
              </a:rPr>
              <a:t>Note on joint event and all partners and country and non-country institutions </a:t>
            </a:r>
            <a:r>
              <a:rPr lang="en-US" err="1">
                <a:highlight>
                  <a:srgbClr val="FFFF00"/>
                </a:highlight>
              </a:rPr>
              <a:t>eg</a:t>
            </a:r>
            <a:r>
              <a:rPr lang="en-US">
                <a:highlight>
                  <a:srgbClr val="FFFF00"/>
                </a:highlight>
              </a:rPr>
              <a:t> EAPP (work on this)</a:t>
            </a:r>
          </a:p>
          <a:p>
            <a:pPr marL="171450" indent="-171450">
              <a:buFontTx/>
              <a:buChar char="-"/>
            </a:pPr>
            <a:r>
              <a:rPr lang="en-US">
                <a:highlight>
                  <a:srgbClr val="FFFF00"/>
                </a:highlight>
              </a:rPr>
              <a:t>Mention DEA colleagues and give them special thanks- put on the cover page that the Danish </a:t>
            </a:r>
            <a:r>
              <a:rPr lang="en-US" err="1">
                <a:highlight>
                  <a:srgbClr val="FFFF00"/>
                </a:highlight>
              </a:rPr>
              <a:t>Gvt</a:t>
            </a:r>
            <a:r>
              <a:rPr lang="en-US">
                <a:highlight>
                  <a:srgbClr val="FFFF00"/>
                </a:highlight>
              </a:rPr>
              <a:t> supported this</a:t>
            </a:r>
          </a:p>
        </p:txBody>
      </p:sp>
      <p:sp>
        <p:nvSpPr>
          <p:cNvPr id="4" name="Slide Number Placeholder 3"/>
          <p:cNvSpPr>
            <a:spLocks noGrp="1"/>
          </p:cNvSpPr>
          <p:nvPr>
            <p:ph type="sldNum" sz="quarter" idx="5"/>
          </p:nvPr>
        </p:nvSpPr>
        <p:spPr/>
        <p:txBody>
          <a:bodyPr/>
          <a:lstStyle/>
          <a:p>
            <a:fld id="{1B8BF35A-4930-46A7-8167-57C9F8BE5639}" type="slidenum">
              <a:rPr lang="en-US" smtClean="0"/>
              <a:t>10</a:t>
            </a:fld>
            <a:endParaRPr lang="en-US"/>
          </a:p>
        </p:txBody>
      </p:sp>
    </p:spTree>
    <p:extLst>
      <p:ext uri="{BB962C8B-B14F-4D97-AF65-F5344CB8AC3E}">
        <p14:creationId xmlns:p14="http://schemas.microsoft.com/office/powerpoint/2010/main" val="17679502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Selected countries with good planning practices according to our knowledge </a:t>
            </a:r>
          </a:p>
          <a:p>
            <a:pPr marL="171450" indent="-171450">
              <a:buFontTx/>
              <a:buChar char="-"/>
            </a:pPr>
            <a:r>
              <a:rPr lang="en-US"/>
              <a:t>Mention that speakers are nominated by their governments</a:t>
            </a:r>
          </a:p>
          <a:p>
            <a:pPr marL="171450" indent="-171450">
              <a:buFontTx/>
              <a:buChar char="-"/>
            </a:pPr>
            <a:r>
              <a:rPr lang="en-US"/>
              <a:t>Highlight countries that are members (first speakers from members and then  non members)</a:t>
            </a:r>
          </a:p>
        </p:txBody>
      </p:sp>
      <p:sp>
        <p:nvSpPr>
          <p:cNvPr id="4" name="Slide Number Placeholder 3"/>
          <p:cNvSpPr>
            <a:spLocks noGrp="1"/>
          </p:cNvSpPr>
          <p:nvPr>
            <p:ph type="sldNum" sz="quarter" idx="5"/>
          </p:nvPr>
        </p:nvSpPr>
        <p:spPr/>
        <p:txBody>
          <a:bodyPr/>
          <a:lstStyle/>
          <a:p>
            <a:fld id="{1B8BF35A-4930-46A7-8167-57C9F8BE5639}" type="slidenum">
              <a:rPr lang="en-US" smtClean="0"/>
              <a:t>11</a:t>
            </a:fld>
            <a:endParaRPr lang="en-US"/>
          </a:p>
        </p:txBody>
      </p:sp>
    </p:spTree>
    <p:extLst>
      <p:ext uri="{BB962C8B-B14F-4D97-AF65-F5344CB8AC3E}">
        <p14:creationId xmlns:p14="http://schemas.microsoft.com/office/powerpoint/2010/main" val="20200730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B8BF35A-4930-46A7-8167-57C9F8BE5639}" type="slidenum">
              <a:rPr lang="en-US" smtClean="0"/>
              <a:t>12</a:t>
            </a:fld>
            <a:endParaRPr lang="en-US"/>
          </a:p>
        </p:txBody>
      </p:sp>
    </p:spTree>
    <p:extLst>
      <p:ext uri="{BB962C8B-B14F-4D97-AF65-F5344CB8AC3E}">
        <p14:creationId xmlns:p14="http://schemas.microsoft.com/office/powerpoint/2010/main" val="8844767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42C7D-7359-D864-1235-4D56998ADDF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A3A2ADF-77FF-182D-1D3F-72825FD81E5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2A3AED8-826C-A54E-8E74-EF7DADC36BB5}"/>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48979F93-C56C-BAF4-89F2-F2E4ACE8CC6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3550651-6D76-9172-0757-0499F83F01F5}"/>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16240241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57526-CB32-44A0-5A80-401448FE530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F06F98C4-8ADE-99FE-B315-623C956A74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F7049BB-4A90-443C-D935-053D09E8C986}"/>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87CB69FE-43CF-85EC-C737-2E746BEC711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8BBDC1C-4016-C7C3-59D7-366A80DD89A9}"/>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6120141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0942BB-0E96-CFAC-5F08-E4E347ABA0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C8A9A8B-4D3C-8B7A-E8E8-300357A2A6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1EBB6D4-F12D-59FC-5E40-B171415FEA34}"/>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EE71CA18-4A75-CBD1-86FA-433D28129C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7E94819-CEEE-2348-2B23-365647F4AF1C}"/>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1953172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76005"/>
            <a:ext cx="8638117" cy="2876003"/>
          </a:xfrm>
          <a:solidFill>
            <a:srgbClr val="0872A6"/>
          </a:solidFill>
        </p:spPr>
        <p:txBody>
          <a:bodyPr lIns="402962" tIns="201480" rIns="402962" bIns="402962"/>
          <a:lstStyle>
            <a:lvl1pPr>
              <a:lnSpc>
                <a:spcPct val="110000"/>
              </a:lnSpc>
              <a:defRPr sz="35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3712296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3BCAFA-B5B8-E88A-3A1E-1CCE00A3A21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8EB55B9-4FCF-BC36-4E7C-A2A14D9639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B679199-9542-B37F-AC71-0B4F244A00A7}"/>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2C0A97C4-9102-8DDD-F631-131555AE18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81030B-1CF8-DBF4-E6F6-13F2D8838D0D}"/>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42660271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9E555F-6AB6-7382-5A5F-B2094A2DB74E}"/>
              </a:ext>
            </a:extLst>
          </p:cNvPr>
          <p:cNvSpPr>
            <a:spLocks noGrp="1"/>
          </p:cNvSpPr>
          <p:nvPr>
            <p:ph type="title"/>
          </p:nvPr>
        </p:nvSpPr>
        <p:spPr>
          <a:xfrm>
            <a:off x="502920" y="480885"/>
            <a:ext cx="9320638" cy="409537"/>
          </a:xfrm>
        </p:spPr>
        <p:txBody>
          <a:bodyPr>
            <a:noAutofit/>
          </a:bodyPr>
          <a:lstStyle>
            <a:lvl1pPr>
              <a:defRPr sz="3600">
                <a:solidFill>
                  <a:srgbClr val="1371A1"/>
                </a:solidFill>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9799A584-0E7C-ED07-5517-49C3C4353A06}"/>
              </a:ext>
            </a:extLst>
          </p:cNvPr>
          <p:cNvSpPr>
            <a:spLocks noGrp="1"/>
          </p:cNvSpPr>
          <p:nvPr>
            <p:ph idx="1"/>
          </p:nvPr>
        </p:nvSpPr>
        <p:spPr>
          <a:xfrm>
            <a:off x="751491" y="969579"/>
            <a:ext cx="10602309" cy="5207384"/>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B2465D-7141-BD7A-F3CF-7A4D2D8B1D53}"/>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805985B5-3899-4459-B386-C39D23E453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469B4E-231A-7B63-4410-2802A7AEEF3C}"/>
              </a:ext>
            </a:extLst>
          </p:cNvPr>
          <p:cNvSpPr>
            <a:spLocks noGrp="1"/>
          </p:cNvSpPr>
          <p:nvPr>
            <p:ph type="sldNum" sz="quarter" idx="12"/>
          </p:nvPr>
        </p:nvSpPr>
        <p:spPr/>
        <p:txBody>
          <a:bodyPr/>
          <a:lstStyle/>
          <a:p>
            <a:fld id="{FCAF6FC2-12E3-4501-8DDD-10EDD11845EA}" type="slidenum">
              <a:rPr lang="en-US" smtClean="0"/>
              <a:t>‹#›</a:t>
            </a:fld>
            <a:endParaRPr lang="en-US"/>
          </a:p>
        </p:txBody>
      </p:sp>
      <p:pic>
        <p:nvPicPr>
          <p:cNvPr id="8" name="Picture 7">
            <a:extLst>
              <a:ext uri="{FF2B5EF4-FFF2-40B4-BE49-F238E27FC236}">
                <a16:creationId xmlns:a16="http://schemas.microsoft.com/office/drawing/2014/main" id="{94960413-85E5-4FB2-F146-090A30E2FEAE}"/>
              </a:ext>
            </a:extLst>
          </p:cNvPr>
          <p:cNvPicPr>
            <a:picLocks noChangeAspect="1"/>
          </p:cNvPicPr>
          <p:nvPr userDrawn="1"/>
        </p:nvPicPr>
        <p:blipFill rotWithShape="1">
          <a:blip r:embed="rId2"/>
          <a:srcRect l="21481" t="14876" b="72093"/>
          <a:stretch/>
        </p:blipFill>
        <p:spPr>
          <a:xfrm>
            <a:off x="0" y="5740399"/>
            <a:ext cx="12192000" cy="1117601"/>
          </a:xfrm>
          <a:prstGeom prst="rect">
            <a:avLst/>
          </a:prstGeom>
        </p:spPr>
      </p:pic>
      <p:pic>
        <p:nvPicPr>
          <p:cNvPr id="9" name="Picture 2">
            <a:extLst>
              <a:ext uri="{FF2B5EF4-FFF2-40B4-BE49-F238E27FC236}">
                <a16:creationId xmlns:a16="http://schemas.microsoft.com/office/drawing/2014/main" id="{292BC64A-E639-4020-9424-A811EEB1450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58363" y="-8903"/>
            <a:ext cx="2433637" cy="910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1314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5C5B0-74E0-2E2D-B394-FD1CE79473A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6A2C4F-2131-331C-E262-5F7AEE9B75D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18D1941-84C2-20D6-A8BA-D95D4A0653D3}"/>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147C7E31-8742-A124-8E9A-F16BB239A13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01C1A1A-4D62-8644-4CED-BBD0286681ED}"/>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7804768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3E52A6-9B86-EDC0-3233-E4DBEC591B3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81801F1-1943-B214-CFD1-884FB95F1E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3586B25-F64A-9D64-C710-72AF2DE829E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181A221-3357-0D96-3E1C-C510975A7019}"/>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6" name="Footer Placeholder 5">
            <a:extLst>
              <a:ext uri="{FF2B5EF4-FFF2-40B4-BE49-F238E27FC236}">
                <a16:creationId xmlns:a16="http://schemas.microsoft.com/office/drawing/2014/main" id="{6284AD14-4424-80FC-41B0-BFE76FC16D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3BF60D2-834C-6E2C-5F96-35C64FD0B9AC}"/>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775847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37100F-5A68-DFF6-AF63-6C434E6E39E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0B1BFC1-D11E-5A82-7DD7-7BB921DC043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5E3675C-F135-1887-C1FB-A857297EDA7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84DC694-1161-F408-7690-7224AB3266C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3289362-CB98-EA03-2B42-0AD84EB538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806F76-0AD7-FF89-A612-0FB4DCEC0C3A}"/>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8" name="Footer Placeholder 7">
            <a:extLst>
              <a:ext uri="{FF2B5EF4-FFF2-40B4-BE49-F238E27FC236}">
                <a16:creationId xmlns:a16="http://schemas.microsoft.com/office/drawing/2014/main" id="{D3016D4E-5943-371B-A83C-FF72FB32D1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F7FAF55-DF96-C649-91BE-969CF33DCDC2}"/>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12296010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0BA446-3EB7-7BB6-9AA6-83EEFA7DF74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E82E70F-BCF1-1645-339F-D843936DA562}"/>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4" name="Footer Placeholder 3">
            <a:extLst>
              <a:ext uri="{FF2B5EF4-FFF2-40B4-BE49-F238E27FC236}">
                <a16:creationId xmlns:a16="http://schemas.microsoft.com/office/drawing/2014/main" id="{C43E2344-1439-8B22-BBDA-DA1752240C5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1D77CD-7637-6DAF-1410-390D2508CA92}"/>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8511337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450FF-F178-9703-8021-18CBA9F59344}"/>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3" name="Footer Placeholder 2">
            <a:extLst>
              <a:ext uri="{FF2B5EF4-FFF2-40B4-BE49-F238E27FC236}">
                <a16:creationId xmlns:a16="http://schemas.microsoft.com/office/drawing/2014/main" id="{8AA5EDA2-0F72-AEDF-D0D9-2C023E88D1F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D978311-9E7E-D524-4ABA-420622EA0061}"/>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2972497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33B50-9E4A-5401-DE7B-023C64CEE08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8ED22A8-277E-4CA7-42BB-2B65788B34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8AF6A74-B79E-7D4D-77C4-52626EC7FC4D}"/>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AB2D04EA-D1C9-310B-1676-B37BA7032E1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77C19D-92AB-9F32-E26B-6B9DA2C6EC32}"/>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40245972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568BD-BAE7-9463-5E88-895981DC2A7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9FE45D2-DEA4-77F3-B1D7-15C6CB3060D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A781C8F-9F59-93BC-37B6-F093B41458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EC3BD0-C8A3-C298-4C51-57E0ED8BC779}"/>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6" name="Footer Placeholder 5">
            <a:extLst>
              <a:ext uri="{FF2B5EF4-FFF2-40B4-BE49-F238E27FC236}">
                <a16:creationId xmlns:a16="http://schemas.microsoft.com/office/drawing/2014/main" id="{0854A5B7-5E44-D114-50CC-E1211CCBE30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05EF85-B088-12FB-2D1C-F04FC19048A8}"/>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31659411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F5672A-4730-9AE5-C213-A428808738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1BA64C4-267B-B4FD-B65F-37E709A1A1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E4A3B5-BADD-0704-CC24-ECC794A7ABE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36516ED-E256-0565-D9F0-F1950F684538}"/>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6" name="Footer Placeholder 5">
            <a:extLst>
              <a:ext uri="{FF2B5EF4-FFF2-40B4-BE49-F238E27FC236}">
                <a16:creationId xmlns:a16="http://schemas.microsoft.com/office/drawing/2014/main" id="{12AB4512-33CD-48DF-0733-89D10573A3D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AE0520-933E-0840-8EA0-34754E831F9E}"/>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38702861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FEFA6-5A96-2745-DDEF-7413F3563D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FEB31FE-9D69-5870-E2A4-6725D54676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739DF9D-D2CF-ECBA-13FA-018D3C389FAB}"/>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A5A7EA9D-45A1-F963-34E4-DEB199F0FCB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1203A5-EAB8-8B07-D47F-3A98267F9089}"/>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1037344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6CE80D1-49EE-782E-3319-7D01F364A19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D3D9096-A994-BB03-A4E8-34D8F01FA7B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CAE0C8-9D9B-4461-49DA-33F16718A2AC}"/>
              </a:ext>
            </a:extLst>
          </p:cNvPr>
          <p:cNvSpPr>
            <a:spLocks noGrp="1"/>
          </p:cNvSpPr>
          <p:nvPr>
            <p:ph type="dt" sz="half" idx="10"/>
          </p:nvPr>
        </p:nvSpPr>
        <p:spPr/>
        <p:txBody>
          <a:body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624FD531-AB0F-F825-DD0B-E60775399C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80E5D4D-A4BA-5028-5B88-CFFCDDBAAE1F}"/>
              </a:ext>
            </a:extLst>
          </p:cNvPr>
          <p:cNvSpPr>
            <a:spLocks noGrp="1"/>
          </p:cNvSpPr>
          <p:nvPr>
            <p:ph type="sldNum" sz="quarter" idx="12"/>
          </p:nvPr>
        </p:nvSpPr>
        <p:spPr/>
        <p:txBody>
          <a:bodyPr/>
          <a:lstStyle/>
          <a:p>
            <a:fld id="{FCAF6FC2-12E3-4501-8DDD-10EDD11845EA}" type="slidenum">
              <a:rPr lang="en-US" smtClean="0"/>
              <a:t>‹#›</a:t>
            </a:fld>
            <a:endParaRPr lang="en-US"/>
          </a:p>
        </p:txBody>
      </p:sp>
    </p:spTree>
    <p:extLst>
      <p:ext uri="{BB962C8B-B14F-4D97-AF65-F5344CB8AC3E}">
        <p14:creationId xmlns:p14="http://schemas.microsoft.com/office/powerpoint/2010/main" val="6151992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0" y="2876005"/>
            <a:ext cx="8638117" cy="2876003"/>
          </a:xfrm>
          <a:solidFill>
            <a:srgbClr val="0872A6"/>
          </a:solidFill>
        </p:spPr>
        <p:txBody>
          <a:bodyPr lIns="402962" tIns="201480" rIns="402962" bIns="402962"/>
          <a:lstStyle>
            <a:lvl1pPr>
              <a:lnSpc>
                <a:spcPct val="110000"/>
              </a:lnSpc>
              <a:defRPr sz="3500">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19118831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Navigator - Title Only">
    <p:spTree>
      <p:nvGrpSpPr>
        <p:cNvPr id="1" name=""/>
        <p:cNvGrpSpPr/>
        <p:nvPr/>
      </p:nvGrpSpPr>
      <p:grpSpPr>
        <a:xfrm>
          <a:off x="0" y="0"/>
          <a:ext cx="0" cy="0"/>
          <a:chOff x="0" y="0"/>
          <a:chExt cx="0" cy="0"/>
        </a:xfrm>
      </p:grpSpPr>
      <p:graphicFrame>
        <p:nvGraphicFramePr>
          <p:cNvPr id="3" name="Object 17" hidden="1">
            <a:extLst>
              <a:ext uri="{FF2B5EF4-FFF2-40B4-BE49-F238E27FC236}">
                <a16:creationId xmlns:a16="http://schemas.microsoft.com/office/drawing/2014/main" id="{4D798381-0C64-43D4-91EB-C4500761B0EA}"/>
              </a:ext>
            </a:extLst>
          </p:cNvPr>
          <p:cNvGraphicFramePr>
            <a:graphicFrameLocks noChangeAspect="1"/>
          </p:cNvGraphicFramePr>
          <p:nvPr userDrawn="1">
            <p:custDataLst>
              <p:tags r:id="rId1"/>
            </p:custData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17" hidden="1">
                        <a:extLst>
                          <a:ext uri="{FF2B5EF4-FFF2-40B4-BE49-F238E27FC236}">
                            <a16:creationId xmlns:a16="http://schemas.microsoft.com/office/drawing/2014/main" id="{4D798381-0C64-43D4-91EB-C4500761B0E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1" y="1621"/>
                        <a:ext cx="1619" cy="1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7252C5FA-3106-46E0-95EC-F37525337C11}"/>
              </a:ext>
            </a:extLst>
          </p:cNvPr>
          <p:cNvSpPr/>
          <p:nvPr userDrawn="1">
            <p:custDataLst>
              <p:tags r:id="rId2"/>
            </p:custDataLst>
          </p:nvPr>
        </p:nvSpPr>
        <p:spPr>
          <a:xfrm>
            <a:off x="0" y="0"/>
            <a:ext cx="161977" cy="16197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en-US" sz="1939" b="1">
              <a:ea typeface="+mj-ea"/>
              <a:cs typeface="+mj-cs"/>
              <a:sym typeface="Arial" panose="020B0604020202020204" pitchFamily="34" charset="0"/>
            </a:endParaRPr>
          </a:p>
        </p:txBody>
      </p:sp>
      <p:sp>
        <p:nvSpPr>
          <p:cNvPr id="2" name="Title 1"/>
          <p:cNvSpPr>
            <a:spLocks noGrp="1"/>
          </p:cNvSpPr>
          <p:nvPr>
            <p:ph type="title"/>
          </p:nvPr>
        </p:nvSpPr>
        <p:spPr>
          <a:xfrm>
            <a:off x="64797" y="249454"/>
            <a:ext cx="8778382" cy="647287"/>
          </a:xfrm>
          <a:prstGeom prst="rect">
            <a:avLst/>
          </a:prstGeom>
        </p:spPr>
        <p:txBody>
          <a:bodyPr anchor="ctr"/>
          <a:lstStyle/>
          <a:p>
            <a:r>
              <a:rPr lang="en-US"/>
              <a:t>Click to edit Master title style</a:t>
            </a:r>
          </a:p>
        </p:txBody>
      </p:sp>
      <p:sp>
        <p:nvSpPr>
          <p:cNvPr id="5" name="Rectangle 280">
            <a:extLst>
              <a:ext uri="{FF2B5EF4-FFF2-40B4-BE49-F238E27FC236}">
                <a16:creationId xmlns:a16="http://schemas.microsoft.com/office/drawing/2014/main" id="{C6B2C6BE-A6E3-4728-B405-0339002FB281}"/>
              </a:ext>
            </a:extLst>
          </p:cNvPr>
          <p:cNvSpPr>
            <a:spLocks noGrp="1" noChangeArrowheads="1"/>
          </p:cNvSpPr>
          <p:nvPr>
            <p:ph type="sldNum" sz="quarter" idx="10"/>
          </p:nvPr>
        </p:nvSpPr>
        <p:spPr/>
        <p:txBody>
          <a:bodyPr/>
          <a:lstStyle>
            <a:lvl1pPr>
              <a:defRPr/>
            </a:lvl1pPr>
          </a:lstStyle>
          <a:p>
            <a:pPr>
              <a:defRPr/>
            </a:pPr>
            <a:fld id="{436A2E07-87FA-49F8-A9C4-923DC082CE9D}" type="slidenum">
              <a:rPr lang="en-US" altLang="en-US"/>
              <a:pPr>
                <a:defRPr/>
              </a:pPr>
              <a:t>‹#›</a:t>
            </a:fld>
            <a:r>
              <a:rPr lang="en-US" altLang="en-US"/>
              <a:t> </a:t>
            </a:r>
          </a:p>
        </p:txBody>
      </p:sp>
    </p:spTree>
    <p:extLst>
      <p:ext uri="{BB962C8B-B14F-4D97-AF65-F5344CB8AC3E}">
        <p14:creationId xmlns:p14="http://schemas.microsoft.com/office/powerpoint/2010/main" val="31241242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48133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680125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E74C60-3ABA-40D3-63B1-12EF06119DD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70B76AB-809D-0A24-6A8E-7A39B4F1C0E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AAF91DE-1771-0036-083E-3945FB59630C}"/>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B7BAE6A0-515D-2AC2-6649-7B333A2D7A6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02ADDF7-9D5D-6CB5-52A5-439D5621275F}"/>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4167718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B993F-62A8-5BCF-EA8F-01955ECC26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0D1013F-6819-E05A-41DE-8C705BB65DA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0DFB649-9FF2-E809-02E4-0C1D0AF8884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3DFA123-E991-9987-8363-F2E9423DCC4B}"/>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6" name="Footer Placeholder 5">
            <a:extLst>
              <a:ext uri="{FF2B5EF4-FFF2-40B4-BE49-F238E27FC236}">
                <a16:creationId xmlns:a16="http://schemas.microsoft.com/office/drawing/2014/main" id="{4BCFA72E-C7B9-04DD-A897-1DA5D2A03B8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AA9443F-690E-9642-31A4-457BB890DE1A}"/>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2572309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B62C-C9FC-0661-C947-B1360E84DD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B85322-C059-F86F-8A6D-0283E7C03B9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7521DCD-CFD5-D8BD-BF68-0BB4E305680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17C9CD71-2813-E3B6-1DC0-3E7E402F13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417E280-2F5E-4163-751C-3CDC6F80F4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F263940-77FD-F4CF-8AA0-33D300D7ED6A}"/>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8" name="Footer Placeholder 7">
            <a:extLst>
              <a:ext uri="{FF2B5EF4-FFF2-40B4-BE49-F238E27FC236}">
                <a16:creationId xmlns:a16="http://schemas.microsoft.com/office/drawing/2014/main" id="{A8893A97-1606-89A5-291A-B72317F947F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11A9847-560D-BF75-185A-B4F009437E69}"/>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30137916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B0E8B8-293A-E18D-B762-B8F04684BB4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C2E9D17-9BF7-EA3E-19A8-138FA637665C}"/>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4" name="Footer Placeholder 3">
            <a:extLst>
              <a:ext uri="{FF2B5EF4-FFF2-40B4-BE49-F238E27FC236}">
                <a16:creationId xmlns:a16="http://schemas.microsoft.com/office/drawing/2014/main" id="{F75F259D-8BCB-057B-8B02-EB571EBE371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1A6F2220-8EC4-492D-D618-A9C7A6208E57}"/>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4841194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7FA406E-15BA-2152-117F-7B318B4DBD14}"/>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3" name="Footer Placeholder 2">
            <a:extLst>
              <a:ext uri="{FF2B5EF4-FFF2-40B4-BE49-F238E27FC236}">
                <a16:creationId xmlns:a16="http://schemas.microsoft.com/office/drawing/2014/main" id="{8D98C802-72C5-CC47-D4F3-C2291D2F91E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A64B4F2-A596-7CCE-E4CD-47DB208F70DB}"/>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29224475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9E625-6966-D045-B39F-8306C2293DD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28E8B46-B7F5-4E5A-E8C4-5565AC25701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8DC098DE-E6D1-D3C7-9991-15965AD9A4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176FFD-62F5-B451-6992-A32B0316940B}"/>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6" name="Footer Placeholder 5">
            <a:extLst>
              <a:ext uri="{FF2B5EF4-FFF2-40B4-BE49-F238E27FC236}">
                <a16:creationId xmlns:a16="http://schemas.microsoft.com/office/drawing/2014/main" id="{06275B5F-0C10-3A91-083E-47612392766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2F4CF8C-FE40-947B-740B-76BD60E6FD68}"/>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42007552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E97C-7002-1E6B-1EA9-28BA15347C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B67BDBE-B835-C0A2-F404-D82343889CC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D7D5F9B-44E7-8A8E-6D1C-77598B475C2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175C6B-7648-E7D8-7BE6-BDFE9ED61E9F}"/>
              </a:ext>
            </a:extLst>
          </p:cNvPr>
          <p:cNvSpPr>
            <a:spLocks noGrp="1"/>
          </p:cNvSpPr>
          <p:nvPr>
            <p:ph type="dt" sz="half" idx="10"/>
          </p:nvPr>
        </p:nvSpPr>
        <p:spPr/>
        <p:txBody>
          <a:bodyPr/>
          <a:lstStyle/>
          <a:p>
            <a:fld id="{FC534F06-0F93-49E7-BA95-8D0DDEE05D6E}" type="datetimeFigureOut">
              <a:rPr lang="en-GB" smtClean="0"/>
              <a:t>18/03/2024</a:t>
            </a:fld>
            <a:endParaRPr lang="en-GB"/>
          </a:p>
        </p:txBody>
      </p:sp>
      <p:sp>
        <p:nvSpPr>
          <p:cNvPr id="6" name="Footer Placeholder 5">
            <a:extLst>
              <a:ext uri="{FF2B5EF4-FFF2-40B4-BE49-F238E27FC236}">
                <a16:creationId xmlns:a16="http://schemas.microsoft.com/office/drawing/2014/main" id="{5FCD096F-0DFA-5467-4063-0D1D152297D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34F5495-1CEE-343C-4E40-145D4D9FF4A0}"/>
              </a:ext>
            </a:extLst>
          </p:cNvPr>
          <p:cNvSpPr>
            <a:spLocks noGrp="1"/>
          </p:cNvSpPr>
          <p:nvPr>
            <p:ph type="sldNum" sz="quarter" idx="12"/>
          </p:nvPr>
        </p:nvSpPr>
        <p:spPr/>
        <p:txBody>
          <a:bodyPr/>
          <a:lstStyle/>
          <a:p>
            <a:fld id="{D7A63A98-6D7E-4A49-B9D4-65754DEFF534}" type="slidenum">
              <a:rPr lang="en-GB" smtClean="0"/>
              <a:t>‹#›</a:t>
            </a:fld>
            <a:endParaRPr lang="en-GB"/>
          </a:p>
        </p:txBody>
      </p:sp>
    </p:spTree>
    <p:extLst>
      <p:ext uri="{BB962C8B-B14F-4D97-AF65-F5344CB8AC3E}">
        <p14:creationId xmlns:p14="http://schemas.microsoft.com/office/powerpoint/2010/main" val="33712260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26.xml"/><Relationship Id="rId4" Type="http://schemas.openxmlformats.org/officeDocument/2006/relationships/image" Target="../media/image5.jpg"/></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theme" Target="../theme/theme4.xml"/><Relationship Id="rId1" Type="http://schemas.openxmlformats.org/officeDocument/2006/relationships/slideLayout" Target="../slideLayouts/slideLayout27.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F048E95-2300-7DB0-169A-7FCD87B9DD6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899AE14-69EE-BB85-3C9B-EDD4F227F46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17DBBAA-5145-DB96-99BF-35AE0001CE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534F06-0F93-49E7-BA95-8D0DDEE05D6E}" type="datetimeFigureOut">
              <a:rPr lang="en-GB" smtClean="0"/>
              <a:t>18/03/2024</a:t>
            </a:fld>
            <a:endParaRPr lang="en-GB"/>
          </a:p>
        </p:txBody>
      </p:sp>
      <p:sp>
        <p:nvSpPr>
          <p:cNvPr id="5" name="Footer Placeholder 4">
            <a:extLst>
              <a:ext uri="{FF2B5EF4-FFF2-40B4-BE49-F238E27FC236}">
                <a16:creationId xmlns:a16="http://schemas.microsoft.com/office/drawing/2014/main" id="{8E5F8753-02F6-4376-C0F4-0BD00001FD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415E56D3-C8C1-6039-D120-715D2DB43E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A63A98-6D7E-4A49-B9D4-65754DEFF534}" type="slidenum">
              <a:rPr lang="en-GB" smtClean="0"/>
              <a:t>‹#›</a:t>
            </a:fld>
            <a:endParaRPr lang="en-GB"/>
          </a:p>
        </p:txBody>
      </p:sp>
    </p:spTree>
    <p:extLst>
      <p:ext uri="{BB962C8B-B14F-4D97-AF65-F5344CB8AC3E}">
        <p14:creationId xmlns:p14="http://schemas.microsoft.com/office/powerpoint/2010/main" val="12646838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480E870-9AF7-F542-07BA-6C2AFF4637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3287DE4-ECC2-B196-0ECC-C3796800DE2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FBB2736-BD12-7AF3-A85E-F6DBF750625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B9091A-CC2D-4E97-A73B-26AA2EE005A8}" type="datetimeFigureOut">
              <a:rPr lang="en-US" smtClean="0"/>
              <a:t>3/18/2024</a:t>
            </a:fld>
            <a:endParaRPr lang="en-US"/>
          </a:p>
        </p:txBody>
      </p:sp>
      <p:sp>
        <p:nvSpPr>
          <p:cNvPr id="5" name="Footer Placeholder 4">
            <a:extLst>
              <a:ext uri="{FF2B5EF4-FFF2-40B4-BE49-F238E27FC236}">
                <a16:creationId xmlns:a16="http://schemas.microsoft.com/office/drawing/2014/main" id="{D6891684-84D2-9608-0983-36F10EDCB6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3AEC736-0215-98EB-0C57-EC91E3DB6D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AF6FC2-12E3-4501-8DDD-10EDD11845EA}" type="slidenum">
              <a:rPr lang="en-US" smtClean="0"/>
              <a:t>‹#›</a:t>
            </a:fld>
            <a:endParaRPr lang="en-US"/>
          </a:p>
        </p:txBody>
      </p:sp>
    </p:spTree>
    <p:extLst>
      <p:ext uri="{BB962C8B-B14F-4D97-AF65-F5344CB8AC3E}">
        <p14:creationId xmlns:p14="http://schemas.microsoft.com/office/powerpoint/2010/main" val="301618163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413E3A1-0DE2-DE43-9D19-C1120C0484EE}"/>
              </a:ext>
            </a:extLst>
          </p:cNvPr>
          <p:cNvSpPr/>
          <p:nvPr userDrawn="1"/>
        </p:nvSpPr>
        <p:spPr>
          <a:xfrm>
            <a:off x="0" y="0"/>
            <a:ext cx="12192000" cy="6858000"/>
          </a:xfrm>
          <a:prstGeom prst="rect">
            <a:avLst/>
          </a:prstGeom>
          <a:solidFill>
            <a:srgbClr val="199DB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4" name="Right Triangle 3">
            <a:extLst>
              <a:ext uri="{FF2B5EF4-FFF2-40B4-BE49-F238E27FC236}">
                <a16:creationId xmlns:a16="http://schemas.microsoft.com/office/drawing/2014/main" id="{E7483C17-C30B-9647-BAB1-4358976E1386}"/>
              </a:ext>
            </a:extLst>
          </p:cNvPr>
          <p:cNvSpPr/>
          <p:nvPr userDrawn="1"/>
        </p:nvSpPr>
        <p:spPr>
          <a:xfrm flipH="1">
            <a:off x="10099040" y="5191760"/>
            <a:ext cx="2092960" cy="16662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12" name="Picture 11" descr="A picture containing drawing&#10;&#10;Description automatically generated">
            <a:extLst>
              <a:ext uri="{FF2B5EF4-FFF2-40B4-BE49-F238E27FC236}">
                <a16:creationId xmlns:a16="http://schemas.microsoft.com/office/drawing/2014/main" id="{26FAA954-7C93-474A-869F-D63F9DB47B01}"/>
              </a:ext>
            </a:extLst>
          </p:cNvPr>
          <p:cNvPicPr>
            <a:picLocks noChangeAspect="1"/>
          </p:cNvPicPr>
          <p:nvPr userDrawn="1"/>
        </p:nvPicPr>
        <p:blipFill>
          <a:blip r:embed="rId3"/>
          <a:stretch>
            <a:fillRect/>
          </a:stretch>
        </p:blipFill>
        <p:spPr>
          <a:xfrm>
            <a:off x="351016" y="341450"/>
            <a:ext cx="3149303" cy="613589"/>
          </a:xfrm>
          <a:prstGeom prst="rect">
            <a:avLst/>
          </a:prstGeom>
        </p:spPr>
      </p:pic>
      <p:sp>
        <p:nvSpPr>
          <p:cNvPr id="16" name="Rectangle 15">
            <a:extLst>
              <a:ext uri="{FF2B5EF4-FFF2-40B4-BE49-F238E27FC236}">
                <a16:creationId xmlns:a16="http://schemas.microsoft.com/office/drawing/2014/main" id="{CA17327B-47C3-5449-84B3-8DE950B52FF0}"/>
              </a:ext>
            </a:extLst>
          </p:cNvPr>
          <p:cNvSpPr/>
          <p:nvPr userDrawn="1"/>
        </p:nvSpPr>
        <p:spPr>
          <a:xfrm>
            <a:off x="1" y="3665365"/>
            <a:ext cx="866274" cy="2072787"/>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19" name="Picture 18" descr="A picture containing drawing&#10;&#10;Description automatically generated">
            <a:extLst>
              <a:ext uri="{FF2B5EF4-FFF2-40B4-BE49-F238E27FC236}">
                <a16:creationId xmlns:a16="http://schemas.microsoft.com/office/drawing/2014/main" id="{41DA95A1-7100-1645-8E7C-509485607187}"/>
              </a:ext>
            </a:extLst>
          </p:cNvPr>
          <p:cNvPicPr>
            <a:picLocks noChangeAspect="1"/>
          </p:cNvPicPr>
          <p:nvPr userDrawn="1"/>
        </p:nvPicPr>
        <p:blipFill>
          <a:blip r:embed="rId4"/>
          <a:stretch>
            <a:fillRect/>
          </a:stretch>
        </p:blipFill>
        <p:spPr>
          <a:xfrm>
            <a:off x="10831233" y="6352674"/>
            <a:ext cx="1210677" cy="307111"/>
          </a:xfrm>
          <a:prstGeom prst="rect">
            <a:avLst/>
          </a:prstGeom>
        </p:spPr>
      </p:pic>
    </p:spTree>
    <p:extLst>
      <p:ext uri="{BB962C8B-B14F-4D97-AF65-F5344CB8AC3E}">
        <p14:creationId xmlns:p14="http://schemas.microsoft.com/office/powerpoint/2010/main" val="972914605"/>
      </p:ext>
    </p:extLst>
  </p:cSld>
  <p:clrMap bg1="lt1" tx1="dk1" bg2="lt2" tx2="dk2" accent1="accent1" accent2="accent2" accent3="accent3" accent4="accent4" accent5="accent5" accent6="accent6" hlink="hlink" folHlink="folHlink"/>
  <p:sldLayoutIdLst>
    <p:sldLayoutId id="214748367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9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3130E42-89AA-444C-91E0-813059EFCAF7}"/>
              </a:ext>
            </a:extLst>
          </p:cNvPr>
          <p:cNvSpPr/>
          <p:nvPr userDrawn="1"/>
        </p:nvSpPr>
        <p:spPr>
          <a:xfrm>
            <a:off x="0" y="0"/>
            <a:ext cx="12192000" cy="6858000"/>
          </a:xfrm>
          <a:prstGeom prst="rect">
            <a:avLst/>
          </a:prstGeom>
          <a:solidFill>
            <a:srgbClr val="199DB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4" name="Right Triangle 3">
            <a:extLst>
              <a:ext uri="{FF2B5EF4-FFF2-40B4-BE49-F238E27FC236}">
                <a16:creationId xmlns:a16="http://schemas.microsoft.com/office/drawing/2014/main" id="{E7483C17-C30B-9647-BAB1-4358976E1386}"/>
              </a:ext>
            </a:extLst>
          </p:cNvPr>
          <p:cNvSpPr/>
          <p:nvPr userDrawn="1"/>
        </p:nvSpPr>
        <p:spPr>
          <a:xfrm flipH="1">
            <a:off x="10099040" y="5191760"/>
            <a:ext cx="2092960" cy="166624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pic>
        <p:nvPicPr>
          <p:cNvPr id="13" name="Picture 12" descr="A picture containing drawing&#10;&#10;Description automatically generated">
            <a:extLst>
              <a:ext uri="{FF2B5EF4-FFF2-40B4-BE49-F238E27FC236}">
                <a16:creationId xmlns:a16="http://schemas.microsoft.com/office/drawing/2014/main" id="{FB8B62C0-F9C0-A04E-B721-DAB7D1A3BE25}"/>
              </a:ext>
            </a:extLst>
          </p:cNvPr>
          <p:cNvPicPr>
            <a:picLocks noChangeAspect="1"/>
          </p:cNvPicPr>
          <p:nvPr userDrawn="1"/>
        </p:nvPicPr>
        <p:blipFill>
          <a:blip r:embed="rId3"/>
          <a:stretch>
            <a:fillRect/>
          </a:stretch>
        </p:blipFill>
        <p:spPr>
          <a:xfrm>
            <a:off x="10831233" y="6352674"/>
            <a:ext cx="1210677" cy="307111"/>
          </a:xfrm>
          <a:prstGeom prst="rect">
            <a:avLst/>
          </a:prstGeom>
        </p:spPr>
      </p:pic>
      <p:pic>
        <p:nvPicPr>
          <p:cNvPr id="15" name="Picture 14" descr="A picture containing drawing&#10;&#10;Description automatically generated">
            <a:extLst>
              <a:ext uri="{FF2B5EF4-FFF2-40B4-BE49-F238E27FC236}">
                <a16:creationId xmlns:a16="http://schemas.microsoft.com/office/drawing/2014/main" id="{F2FAC89F-FA23-3C40-9468-0FD0C38878C2}"/>
              </a:ext>
            </a:extLst>
          </p:cNvPr>
          <p:cNvPicPr>
            <a:picLocks noChangeAspect="1"/>
          </p:cNvPicPr>
          <p:nvPr userDrawn="1"/>
        </p:nvPicPr>
        <p:blipFill>
          <a:blip r:embed="rId4"/>
          <a:stretch>
            <a:fillRect/>
          </a:stretch>
        </p:blipFill>
        <p:spPr>
          <a:xfrm>
            <a:off x="351017" y="341450"/>
            <a:ext cx="2496098" cy="486323"/>
          </a:xfrm>
          <a:prstGeom prst="rect">
            <a:avLst/>
          </a:prstGeom>
        </p:spPr>
      </p:pic>
    </p:spTree>
    <p:extLst>
      <p:ext uri="{BB962C8B-B14F-4D97-AF65-F5344CB8AC3E}">
        <p14:creationId xmlns:p14="http://schemas.microsoft.com/office/powerpoint/2010/main" val="2519595073"/>
      </p:ext>
    </p:extLst>
  </p:cSld>
  <p:clrMap bg1="lt1" tx1="dk1" bg2="lt2" tx2="dk2" accent1="accent1" accent2="accent2" accent3="accent3" accent4="accent4" accent5="accent5" accent6="accent6" hlink="hlink" folHlink="folHlink"/>
  <p:sldLayoutIdLst>
    <p:sldLayoutId id="214748367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9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hyperlink" Target="https://www.afdb.org/en" TargetMode="External"/><Relationship Id="rId18" Type="http://schemas.openxmlformats.org/officeDocument/2006/relationships/hyperlink" Target="https://au.int/commission" TargetMode="External"/><Relationship Id="rId3" Type="http://schemas.openxmlformats.org/officeDocument/2006/relationships/image" Target="../media/image2.png"/><Relationship Id="rId7" Type="http://schemas.openxmlformats.org/officeDocument/2006/relationships/image" Target="../media/image75.png"/><Relationship Id="rId12" Type="http://schemas.openxmlformats.org/officeDocument/2006/relationships/hyperlink" Target="https://www.get-transform.eu/" TargetMode="External"/><Relationship Id="rId17" Type="http://schemas.openxmlformats.org/officeDocument/2006/relationships/image" Target="../media/image79.jpeg"/><Relationship Id="rId2" Type="http://schemas.openxmlformats.org/officeDocument/2006/relationships/notesSlide" Target="../notesSlides/notesSlide7.xml"/><Relationship Id="rId16" Type="http://schemas.openxmlformats.org/officeDocument/2006/relationships/hyperlink" Target="https://energy.go.ke/" TargetMode="External"/><Relationship Id="rId1" Type="http://schemas.openxmlformats.org/officeDocument/2006/relationships/slideLayout" Target="../slideLayouts/slideLayout2.xml"/><Relationship Id="rId6" Type="http://schemas.openxmlformats.org/officeDocument/2006/relationships/image" Target="../media/image74.jpeg"/><Relationship Id="rId11" Type="http://schemas.openxmlformats.org/officeDocument/2006/relationships/hyperlink" Target="https://www.uneca.org/" TargetMode="External"/><Relationship Id="rId5" Type="http://schemas.openxmlformats.org/officeDocument/2006/relationships/image" Target="../media/image73.png"/><Relationship Id="rId15" Type="http://schemas.openxmlformats.org/officeDocument/2006/relationships/image" Target="../media/image78.jpeg"/><Relationship Id="rId10" Type="http://schemas.openxmlformats.org/officeDocument/2006/relationships/hyperlink" Target="https://www.irena.org/" TargetMode="External"/><Relationship Id="rId4" Type="http://schemas.openxmlformats.org/officeDocument/2006/relationships/image" Target="../media/image11.jpeg"/><Relationship Id="rId9" Type="http://schemas.openxmlformats.org/officeDocument/2006/relationships/image" Target="../media/image77.png"/><Relationship Id="rId14" Type="http://schemas.openxmlformats.org/officeDocument/2006/relationships/hyperlink" Target="https://www.nepad.or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1.jpeg"/><Relationship Id="rId5" Type="http://schemas.openxmlformats.org/officeDocument/2006/relationships/image" Target="../media/image2.png"/><Relationship Id="rId4" Type="http://schemas.openxmlformats.org/officeDocument/2006/relationships/image" Target="../media/image81.png"/></Relationships>
</file>

<file path=ppt/slides/_rels/slide1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3.png"/><Relationship Id="rId7"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2.png"/><Relationship Id="rId5" Type="http://schemas.openxmlformats.org/officeDocument/2006/relationships/image" Target="../media/image85.png"/><Relationship Id="rId10" Type="http://schemas.openxmlformats.org/officeDocument/2006/relationships/image" Target="../media/image88.png"/><Relationship Id="rId4" Type="http://schemas.openxmlformats.org/officeDocument/2006/relationships/image" Target="../media/image84.png"/><Relationship Id="rId9" Type="http://schemas.openxmlformats.org/officeDocument/2006/relationships/image" Target="../media/image87.png"/></Relationships>
</file>

<file path=ppt/slides/_rels/slide1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3" Type="http://schemas.openxmlformats.org/officeDocument/2006/relationships/image" Target="../media/image2.png"/><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 Type="http://schemas.openxmlformats.org/officeDocument/2006/relationships/notesSlide" Target="../notesSlides/notesSlide11.xml"/><Relationship Id="rId16" Type="http://schemas.openxmlformats.org/officeDocument/2006/relationships/image" Target="../media/image101.png"/><Relationship Id="rId1" Type="http://schemas.openxmlformats.org/officeDocument/2006/relationships/slideLayout" Target="../slideLayouts/slideLayout2.xml"/><Relationship Id="rId6" Type="http://schemas.openxmlformats.org/officeDocument/2006/relationships/image" Target="../media/image91.png"/><Relationship Id="rId11" Type="http://schemas.openxmlformats.org/officeDocument/2006/relationships/image" Target="../media/image96.png"/><Relationship Id="rId5" Type="http://schemas.openxmlformats.org/officeDocument/2006/relationships/image" Target="../media/image90.png"/><Relationship Id="rId15" Type="http://schemas.openxmlformats.org/officeDocument/2006/relationships/image" Target="../media/image100.png"/><Relationship Id="rId10" Type="http://schemas.openxmlformats.org/officeDocument/2006/relationships/image" Target="../media/image95.png"/><Relationship Id="rId4" Type="http://schemas.openxmlformats.org/officeDocument/2006/relationships/image" Target="../media/image11.jpeg"/><Relationship Id="rId9" Type="http://schemas.openxmlformats.org/officeDocument/2006/relationships/image" Target="../media/image94.png"/><Relationship Id="rId14" Type="http://schemas.openxmlformats.org/officeDocument/2006/relationships/image" Target="../media/image99.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03.jpeg"/><Relationship Id="rId4" Type="http://schemas.openxmlformats.org/officeDocument/2006/relationships/image" Target="../media/image11.jpe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03.jpeg"/><Relationship Id="rId4" Type="http://schemas.openxmlformats.org/officeDocument/2006/relationships/image" Target="../media/image11.jpeg"/></Relationships>
</file>

<file path=ppt/slides/_rels/slide18.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notesSlide" Target="../notesSlides/notesSlide15.xml"/><Relationship Id="rId7" Type="http://schemas.openxmlformats.org/officeDocument/2006/relationships/image" Target="../media/image106.jpeg"/><Relationship Id="rId2" Type="http://schemas.openxmlformats.org/officeDocument/2006/relationships/slideLayout" Target="../slideLayouts/slideLayout14.xml"/><Relationship Id="rId1" Type="http://schemas.openxmlformats.org/officeDocument/2006/relationships/tags" Target="../tags/tag3.xml"/><Relationship Id="rId6" Type="http://schemas.openxmlformats.org/officeDocument/2006/relationships/image" Target="../media/image105.jpeg"/><Relationship Id="rId5" Type="http://schemas.openxmlformats.org/officeDocument/2006/relationships/image" Target="../media/image104.emf"/><Relationship Id="rId4" Type="http://schemas.openxmlformats.org/officeDocument/2006/relationships/oleObject" Target="../embeddings/oleObject2.bin"/><Relationship Id="rId9" Type="http://schemas.openxmlformats.org/officeDocument/2006/relationships/image" Target="../media/image108.jpeg"/></Relationships>
</file>

<file path=ppt/slides/_rels/slide1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notesSlide" Target="../notesSlides/notesSlide16.xml"/><Relationship Id="rId7" Type="http://schemas.openxmlformats.org/officeDocument/2006/relationships/image" Target="../media/image110.jpeg"/><Relationship Id="rId2" Type="http://schemas.openxmlformats.org/officeDocument/2006/relationships/slideLayout" Target="../slideLayouts/slideLayout14.xml"/><Relationship Id="rId1" Type="http://schemas.openxmlformats.org/officeDocument/2006/relationships/tags" Target="../tags/tag4.xml"/><Relationship Id="rId6" Type="http://schemas.openxmlformats.org/officeDocument/2006/relationships/image" Target="../media/image109.png"/><Relationship Id="rId5" Type="http://schemas.openxmlformats.org/officeDocument/2006/relationships/image" Target="../media/image104.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notesSlide" Target="../notesSlides/notesSlide17.xml"/><Relationship Id="rId7" Type="http://schemas.openxmlformats.org/officeDocument/2006/relationships/image" Target="../media/image113.png"/><Relationship Id="rId2" Type="http://schemas.openxmlformats.org/officeDocument/2006/relationships/slideLayout" Target="../slideLayouts/slideLayout14.xml"/><Relationship Id="rId1" Type="http://schemas.openxmlformats.org/officeDocument/2006/relationships/tags" Target="../tags/tag5.xml"/><Relationship Id="rId6" Type="http://schemas.openxmlformats.org/officeDocument/2006/relationships/image" Target="../media/image112.png"/><Relationship Id="rId5" Type="http://schemas.openxmlformats.org/officeDocument/2006/relationships/image" Target="../media/image104.emf"/><Relationship Id="rId4" Type="http://schemas.openxmlformats.org/officeDocument/2006/relationships/oleObject" Target="../embeddings/oleObject4.bin"/><Relationship Id="rId9" Type="http://schemas.openxmlformats.org/officeDocument/2006/relationships/image" Target="../media/image115.png"/></Relationships>
</file>

<file path=ppt/slides/_rels/slide2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2.png"/><Relationship Id="rId4" Type="http://schemas.openxmlformats.org/officeDocument/2006/relationships/image" Target="../media/image11.jpeg"/></Relationships>
</file>

<file path=ppt/slides/_rels/slide22.xml.rels><?xml version="1.0" encoding="UTF-8" standalone="yes"?>
<Relationships xmlns="http://schemas.openxmlformats.org/package/2006/relationships"><Relationship Id="rId2" Type="http://schemas.openxmlformats.org/officeDocument/2006/relationships/image" Target="../media/image116.emf"/><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10.emf"/><Relationship Id="rId4" Type="http://schemas.openxmlformats.org/officeDocument/2006/relationships/image" Target="../media/image9.emf"/></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2.png"/><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2.png"/><Relationship Id="rId7" Type="http://schemas.openxmlformats.org/officeDocument/2006/relationships/diagramLayout" Target="../diagrams/layout1.xml"/><Relationship Id="rId12"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diagramData" Target="../diagrams/data1.xml"/><Relationship Id="rId11" Type="http://schemas.openxmlformats.org/officeDocument/2006/relationships/image" Target="../media/image18.png"/><Relationship Id="rId5" Type="http://schemas.openxmlformats.org/officeDocument/2006/relationships/image" Target="../media/image14.png"/><Relationship Id="rId10" Type="http://schemas.microsoft.com/office/2007/relationships/diagramDrawing" Target="../diagrams/drawing1.xml"/><Relationship Id="rId4" Type="http://schemas.openxmlformats.org/officeDocument/2006/relationships/image" Target="../media/image13.png"/><Relationship Id="rId9" Type="http://schemas.openxmlformats.org/officeDocument/2006/relationships/diagramColors" Target="../diagrams/colors1.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1.jpe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13" Type="http://schemas.openxmlformats.org/officeDocument/2006/relationships/image" Target="../media/image2.png"/><Relationship Id="rId18" Type="http://schemas.openxmlformats.org/officeDocument/2006/relationships/image" Target="../media/image37.png"/><Relationship Id="rId26" Type="http://schemas.openxmlformats.org/officeDocument/2006/relationships/image" Target="../media/image45.png"/><Relationship Id="rId39" Type="http://schemas.openxmlformats.org/officeDocument/2006/relationships/image" Target="../media/image58.png"/><Relationship Id="rId21" Type="http://schemas.openxmlformats.org/officeDocument/2006/relationships/image" Target="../media/image40.png"/><Relationship Id="rId34" Type="http://schemas.openxmlformats.org/officeDocument/2006/relationships/image" Target="../media/image53.png"/><Relationship Id="rId42" Type="http://schemas.openxmlformats.org/officeDocument/2006/relationships/image" Target="../media/image61.png"/><Relationship Id="rId47" Type="http://schemas.openxmlformats.org/officeDocument/2006/relationships/image" Target="../media/image65.png"/><Relationship Id="rId7" Type="http://schemas.openxmlformats.org/officeDocument/2006/relationships/image" Target="../media/image27.png"/><Relationship Id="rId2" Type="http://schemas.openxmlformats.org/officeDocument/2006/relationships/notesSlide" Target="../notesSlides/notesSlide6.xml"/><Relationship Id="rId16" Type="http://schemas.openxmlformats.org/officeDocument/2006/relationships/image" Target="../media/image35.png"/><Relationship Id="rId29" Type="http://schemas.openxmlformats.org/officeDocument/2006/relationships/image" Target="../media/image48.png"/><Relationship Id="rId1" Type="http://schemas.openxmlformats.org/officeDocument/2006/relationships/slideLayout" Target="../slideLayouts/slideLayout7.xml"/><Relationship Id="rId6" Type="http://schemas.openxmlformats.org/officeDocument/2006/relationships/image" Target="../media/image26.jpeg"/><Relationship Id="rId11" Type="http://schemas.openxmlformats.org/officeDocument/2006/relationships/image" Target="../media/image31.png"/><Relationship Id="rId24" Type="http://schemas.openxmlformats.org/officeDocument/2006/relationships/image" Target="../media/image43.png"/><Relationship Id="rId32" Type="http://schemas.openxmlformats.org/officeDocument/2006/relationships/image" Target="../media/image51.png"/><Relationship Id="rId37" Type="http://schemas.openxmlformats.org/officeDocument/2006/relationships/image" Target="../media/image56.png"/><Relationship Id="rId40" Type="http://schemas.openxmlformats.org/officeDocument/2006/relationships/image" Target="../media/image59.png"/><Relationship Id="rId45" Type="http://schemas.openxmlformats.org/officeDocument/2006/relationships/image" Target="../media/image63.png"/><Relationship Id="rId5" Type="http://schemas.openxmlformats.org/officeDocument/2006/relationships/image" Target="../media/image25.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47.png"/><Relationship Id="rId36" Type="http://schemas.openxmlformats.org/officeDocument/2006/relationships/image" Target="../media/image55.png"/><Relationship Id="rId10" Type="http://schemas.openxmlformats.org/officeDocument/2006/relationships/image" Target="../media/image30.png"/><Relationship Id="rId19" Type="http://schemas.openxmlformats.org/officeDocument/2006/relationships/image" Target="../media/image38.png"/><Relationship Id="rId31" Type="http://schemas.openxmlformats.org/officeDocument/2006/relationships/image" Target="../media/image50.png"/><Relationship Id="rId44" Type="http://schemas.openxmlformats.org/officeDocument/2006/relationships/image" Target="../media/image11.jpeg"/><Relationship Id="rId4" Type="http://schemas.openxmlformats.org/officeDocument/2006/relationships/image" Target="../media/image24.png"/><Relationship Id="rId9" Type="http://schemas.openxmlformats.org/officeDocument/2006/relationships/image" Target="../media/image29.pn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46.png"/><Relationship Id="rId30" Type="http://schemas.openxmlformats.org/officeDocument/2006/relationships/image" Target="../media/image49.png"/><Relationship Id="rId35" Type="http://schemas.openxmlformats.org/officeDocument/2006/relationships/image" Target="../media/image54.png"/><Relationship Id="rId43" Type="http://schemas.openxmlformats.org/officeDocument/2006/relationships/image" Target="../media/image62.png"/><Relationship Id="rId8" Type="http://schemas.openxmlformats.org/officeDocument/2006/relationships/image" Target="../media/image28.png"/><Relationship Id="rId3" Type="http://schemas.openxmlformats.org/officeDocument/2006/relationships/image" Target="../media/image23.jpeg"/><Relationship Id="rId12" Type="http://schemas.openxmlformats.org/officeDocument/2006/relationships/image" Target="../media/image32.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2.png"/><Relationship Id="rId38" Type="http://schemas.openxmlformats.org/officeDocument/2006/relationships/image" Target="../media/image57.png"/><Relationship Id="rId46" Type="http://schemas.openxmlformats.org/officeDocument/2006/relationships/image" Target="../media/image64.png"/><Relationship Id="rId20" Type="http://schemas.openxmlformats.org/officeDocument/2006/relationships/image" Target="../media/image39.png"/><Relationship Id="rId41" Type="http://schemas.openxmlformats.org/officeDocument/2006/relationships/image" Target="../media/image60.png"/></Relationships>
</file>

<file path=ppt/slides/_rels/slide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eg"/><Relationship Id="rId7" Type="http://schemas.openxmlformats.org/officeDocument/2006/relationships/image" Target="../media/image71.png"/><Relationship Id="rId2" Type="http://schemas.openxmlformats.org/officeDocument/2006/relationships/image" Target="../media/image66.jpeg"/><Relationship Id="rId1" Type="http://schemas.openxmlformats.org/officeDocument/2006/relationships/slideLayout" Target="../slideLayouts/slideLayout2.xml"/><Relationship Id="rId6" Type="http://schemas.openxmlformats.org/officeDocument/2006/relationships/image" Target="../media/image70.png"/><Relationship Id="rId5" Type="http://schemas.openxmlformats.org/officeDocument/2006/relationships/image" Target="../media/image69.jpeg"/><Relationship Id="rId10" Type="http://schemas.openxmlformats.org/officeDocument/2006/relationships/image" Target="../media/image11.jpeg"/><Relationship Id="rId4" Type="http://schemas.openxmlformats.org/officeDocument/2006/relationships/image" Target="../media/image68.jpeg"/><Relationship Id="rId9"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086856CE-952D-3747-BE56-4630DDC323AF}"/>
              </a:ext>
            </a:extLst>
          </p:cNvPr>
          <p:cNvSpPr txBox="1"/>
          <p:nvPr/>
        </p:nvSpPr>
        <p:spPr>
          <a:xfrm>
            <a:off x="983751" y="3993872"/>
            <a:ext cx="1094571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Presente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prstClr val="white"/>
                </a:solidFill>
                <a:latin typeface="Calibri" panose="020F0502020204030204"/>
              </a:rPr>
              <a:t>Juan Jose Gracia, Angela Mutsotso </a:t>
            </a:r>
            <a:r>
              <a:rPr lang="en-GB" sz="2000" b="1" dirty="0">
                <a:solidFill>
                  <a:prstClr val="white"/>
                </a:solidFill>
                <a:latin typeface="Calibri" panose="020F0502020204030204"/>
              </a:rPr>
              <a:t>| </a:t>
            </a:r>
            <a:r>
              <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rPr>
              <a:t>IRENA</a:t>
            </a:r>
            <a:endPar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E686C7E6-E5C0-0144-88BB-57266D6D9938}"/>
              </a:ext>
            </a:extLst>
          </p:cNvPr>
          <p:cNvSpPr txBox="1"/>
          <p:nvPr/>
        </p:nvSpPr>
        <p:spPr>
          <a:xfrm>
            <a:off x="983751" y="5083099"/>
            <a:ext cx="107827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a:solidFill>
                  <a:prstClr val="white"/>
                </a:solidFill>
                <a:latin typeface="Calibri" panose="020F0502020204030204" pitchFamily="34" charset="0"/>
                <a:ea typeface="Verdana" panose="020B0604030504040204" pitchFamily="34" charset="0"/>
                <a:cs typeface="Calibri" panose="020F0502020204030204" pitchFamily="34" charset="0"/>
              </a:rPr>
              <a:t>MONDAY</a:t>
            </a: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 18 MARCH 202</a:t>
            </a:r>
            <a:r>
              <a:rPr lang="en-US" sz="2400" b="1" dirty="0">
                <a:solidFill>
                  <a:prstClr val="white"/>
                </a:solidFill>
                <a:latin typeface="Calibri" panose="020F0502020204030204" pitchFamily="34" charset="0"/>
                <a:ea typeface="Verdana" panose="020B0604030504040204" pitchFamily="34" charset="0"/>
                <a:cs typeface="Calibri" panose="020F0502020204030204" pitchFamily="34" charset="0"/>
              </a:rPr>
              <a:t>4</a:t>
            </a: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US"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a:t>
            </a:r>
            <a:r>
              <a:rPr lang="en-GB" sz="2400" b="1" dirty="0">
                <a:solidFill>
                  <a:prstClr val="white"/>
                </a:solidFill>
                <a:latin typeface="Calibri" panose="020F0502020204030204" pitchFamily="34" charset="0"/>
                <a:cs typeface="Calibri" panose="020F0502020204030204" pitchFamily="34" charset="0"/>
              </a:rPr>
              <a:t>09</a:t>
            </a:r>
            <a:r>
              <a:rPr kumimoji="0" lang="en-GB" sz="24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30 – 10:00 CET </a:t>
            </a:r>
            <a:endParaRPr kumimoji="0" lang="en-US"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19" name="TextBox 18">
            <a:extLst>
              <a:ext uri="{FF2B5EF4-FFF2-40B4-BE49-F238E27FC236}">
                <a16:creationId xmlns:a16="http://schemas.microsoft.com/office/drawing/2014/main" id="{2E31E1B2-1DFE-EA43-BC47-C9EC340B59C7}"/>
              </a:ext>
            </a:extLst>
          </p:cNvPr>
          <p:cNvSpPr txBox="1"/>
          <p:nvPr/>
        </p:nvSpPr>
        <p:spPr>
          <a:xfrm>
            <a:off x="983751" y="1621078"/>
            <a:ext cx="9899147" cy="1569660"/>
          </a:xfrm>
          <a:prstGeom prst="rect">
            <a:avLst/>
          </a:prstGeom>
          <a:noFill/>
        </p:spPr>
        <p:txBody>
          <a:bodyPr wrap="square" rtlCol="0">
            <a:spAutoFit/>
          </a:bodyPr>
          <a:lstStyle/>
          <a:p>
            <a:pPr>
              <a:defRPr/>
            </a:pPr>
            <a:r>
              <a:rPr lang="en-US" sz="3200" b="1" dirty="0">
                <a:solidFill>
                  <a:prstClr val="white"/>
                </a:solidFill>
                <a:latin typeface="Calibri" panose="020F0502020204030204"/>
              </a:rPr>
              <a:t>Long-Term Energy Scenarios for the Energy Transition: Experience and Good Practices in Afric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prstClr val="white"/>
                </a:solidFill>
                <a:effectLst/>
                <a:uLnTx/>
                <a:uFillTx/>
                <a:latin typeface="Calibri" panose="020F0502020204030204"/>
                <a:ea typeface="+mn-ea"/>
                <a:cs typeface="+mn-cs"/>
              </a:rPr>
              <a:t> </a:t>
            </a:r>
            <a:endParaRPr kumimoji="0" lang="en-US" sz="3200" b="0"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8168731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A1E3547E-2B94-D1E4-73E1-60CA31202873}"/>
              </a:ext>
            </a:extLst>
          </p:cNvPr>
          <p:cNvSpPr>
            <a:spLocks noGrp="1"/>
          </p:cNvSpPr>
          <p:nvPr>
            <p:ph idx="1"/>
          </p:nvPr>
        </p:nvSpPr>
        <p:spPr>
          <a:xfrm>
            <a:off x="499745" y="890422"/>
            <a:ext cx="6540152" cy="5743134"/>
          </a:xfrm>
        </p:spPr>
        <p:txBody>
          <a:bodyPr/>
          <a:lstStyle/>
          <a:p>
            <a:pPr marL="0" marR="0" lvl="0" indent="0" algn="just" defTabSz="914400" rtl="0" eaLnBrk="1" fontAlgn="auto" latinLnBrk="0" hangingPunct="1">
              <a:lnSpc>
                <a:spcPct val="125000"/>
              </a:lnSpc>
              <a:spcBef>
                <a:spcPts val="0"/>
              </a:spcBef>
              <a:spcAft>
                <a:spcPts val="0"/>
              </a:spcAft>
              <a:buClr>
                <a:srgbClr val="245898"/>
              </a:buClr>
              <a:buSzTx/>
              <a:buNone/>
              <a:tabLst/>
              <a:defRPr/>
            </a:pPr>
            <a:r>
              <a:rPr lang="en-US" sz="2200" b="1">
                <a:latin typeface="Calibri" panose="020F0502020204030204" pitchFamily="34" charset="0"/>
                <a:ea typeface="Calibri" panose="020F0502020204030204" pitchFamily="34" charset="0"/>
                <a:cs typeface="Calibri" panose="020F0502020204030204" pitchFamily="34" charset="0"/>
              </a:rPr>
              <a:t>The Africa Webinar series</a:t>
            </a:r>
            <a:endParaRPr lang="en-US" sz="2200">
              <a:latin typeface="Calibri" panose="020F0502020204030204" pitchFamily="34" charset="0"/>
              <a:ea typeface="Calibri" panose="020F0502020204030204" pitchFamily="34" charset="0"/>
              <a:cs typeface="Calibri" panose="020F0502020204030204" pitchFamily="34" charset="0"/>
            </a:endParaRPr>
          </a:p>
          <a:p>
            <a:pPr marR="0" lvl="0" algn="just" defTabSz="914400" rtl="0" eaLnBrk="1" fontAlgn="auto" latinLnBrk="0" hangingPunct="1">
              <a:lnSpc>
                <a:spcPct val="125000"/>
              </a:lnSpc>
              <a:spcBef>
                <a:spcPts val="0"/>
              </a:spcBef>
              <a:spcAft>
                <a:spcPts val="0"/>
              </a:spcAft>
              <a:buClr>
                <a:srgbClr val="245898"/>
              </a:buClr>
              <a:buSzTx/>
              <a:buFont typeface="Wingdings" panose="05000000000000000000" pitchFamily="2" charset="2"/>
              <a:buChar char="§"/>
              <a:tabLst/>
              <a:defRPr/>
            </a:pPr>
            <a:r>
              <a:rPr lang="en-US" sz="2200">
                <a:latin typeface="Calibri" panose="020F0502020204030204" pitchFamily="34" charset="0"/>
                <a:ea typeface="Calibri" panose="020F0502020204030204" pitchFamily="34" charset="0"/>
                <a:cs typeface="Calibri" panose="020F0502020204030204" pitchFamily="34" charset="0"/>
              </a:rPr>
              <a:t>To facilitate the peer-to-peer exchange of practices and experiences on long-term energy scenarios (LTES) in the region to accelerate the clean energy transition.</a:t>
            </a:r>
          </a:p>
          <a:p>
            <a:pPr marL="0" marR="0" lvl="0" indent="0" algn="just" defTabSz="914400" rtl="0" eaLnBrk="1" fontAlgn="auto" latinLnBrk="0" hangingPunct="1">
              <a:lnSpc>
                <a:spcPct val="125000"/>
              </a:lnSpc>
              <a:spcBef>
                <a:spcPts val="0"/>
              </a:spcBef>
              <a:spcAft>
                <a:spcPts val="0"/>
              </a:spcAft>
              <a:buClr>
                <a:srgbClr val="245898"/>
              </a:buClr>
              <a:buSzTx/>
              <a:buNone/>
              <a:tabLst/>
              <a:defRPr/>
            </a:pPr>
            <a:endParaRPr lang="en-US" sz="2200">
              <a:latin typeface="Calibri" panose="020F0502020204030204" pitchFamily="34" charset="0"/>
              <a:ea typeface="Calibri" panose="020F0502020204030204" pitchFamily="34" charset="0"/>
              <a:cs typeface="Calibri" panose="020F0502020204030204" pitchFamily="34" charset="0"/>
            </a:endParaRPr>
          </a:p>
          <a:p>
            <a:pPr marR="0" lvl="0" algn="just" defTabSz="914400" rtl="0" eaLnBrk="1" fontAlgn="auto" latinLnBrk="0" hangingPunct="1">
              <a:lnSpc>
                <a:spcPct val="125000"/>
              </a:lnSpc>
              <a:spcBef>
                <a:spcPts val="0"/>
              </a:spcBef>
              <a:spcAft>
                <a:spcPts val="0"/>
              </a:spcAft>
              <a:buClr>
                <a:srgbClr val="245898"/>
              </a:buClr>
              <a:buSzTx/>
              <a:buFont typeface="Wingdings" panose="05000000000000000000" pitchFamily="2" charset="2"/>
              <a:buChar char="§"/>
              <a:tabLst/>
              <a:defRPr/>
            </a:pPr>
            <a:r>
              <a:rPr lang="en-US" sz="2200">
                <a:latin typeface="Calibri" panose="020F0502020204030204" pitchFamily="34" charset="0"/>
                <a:ea typeface="Calibri" panose="020F0502020204030204" pitchFamily="34" charset="0"/>
                <a:cs typeface="Calibri" panose="020F0502020204030204" pitchFamily="34" charset="0"/>
              </a:rPr>
              <a:t>Webinar series focuses on </a:t>
            </a:r>
            <a:r>
              <a:rPr lang="en-US" sz="2200" b="1">
                <a:latin typeface="Calibri" panose="020F0502020204030204" pitchFamily="34" charset="0"/>
                <a:ea typeface="Calibri" panose="020F0502020204030204" pitchFamily="34" charset="0"/>
                <a:cs typeface="Calibri" panose="020F0502020204030204" pitchFamily="34" charset="0"/>
              </a:rPr>
              <a:t>countries that have harnessed LTES </a:t>
            </a:r>
            <a:r>
              <a:rPr lang="en-US" sz="2200">
                <a:latin typeface="Calibri" panose="020F0502020204030204" pitchFamily="34" charset="0"/>
                <a:ea typeface="Calibri" panose="020F0502020204030204" pitchFamily="34" charset="0"/>
                <a:cs typeface="Calibri" panose="020F0502020204030204" pitchFamily="34" charset="0"/>
              </a:rPr>
              <a:t>to promote clean energy transitions.</a:t>
            </a:r>
          </a:p>
          <a:p>
            <a:pPr marL="0" marR="0" lvl="0" indent="0" algn="just" defTabSz="914400" rtl="0" eaLnBrk="1" fontAlgn="auto" latinLnBrk="0" hangingPunct="1">
              <a:lnSpc>
                <a:spcPct val="125000"/>
              </a:lnSpc>
              <a:spcBef>
                <a:spcPts val="0"/>
              </a:spcBef>
              <a:spcAft>
                <a:spcPts val="0"/>
              </a:spcAft>
              <a:buClr>
                <a:srgbClr val="245898"/>
              </a:buClr>
              <a:buSzTx/>
              <a:buNone/>
              <a:tabLst/>
              <a:defRPr/>
            </a:pPr>
            <a:endParaRPr lang="en-US" sz="2200">
              <a:latin typeface="Calibri" panose="020F0502020204030204" pitchFamily="34" charset="0"/>
              <a:ea typeface="Calibri" panose="020F0502020204030204" pitchFamily="34" charset="0"/>
              <a:cs typeface="Calibri" panose="020F0502020204030204" pitchFamily="34" charset="0"/>
            </a:endParaRPr>
          </a:p>
          <a:p>
            <a:pPr marR="0" lvl="0" algn="just" defTabSz="914400" rtl="0" eaLnBrk="1" fontAlgn="auto" latinLnBrk="0" hangingPunct="1">
              <a:lnSpc>
                <a:spcPct val="125000"/>
              </a:lnSpc>
              <a:spcBef>
                <a:spcPts val="0"/>
              </a:spcBef>
              <a:spcAft>
                <a:spcPts val="0"/>
              </a:spcAft>
              <a:buClr>
                <a:srgbClr val="245898"/>
              </a:buClr>
              <a:buSzTx/>
              <a:buFont typeface="Wingdings" panose="05000000000000000000" pitchFamily="2" charset="2"/>
              <a:buChar char="§"/>
              <a:tabLst/>
              <a:defRPr/>
            </a:pPr>
            <a:r>
              <a:rPr lang="en-US" sz="2200">
                <a:latin typeface="Calibri" panose="020F0502020204030204" pitchFamily="34" charset="0"/>
                <a:ea typeface="Calibri" panose="020F0502020204030204" pitchFamily="34" charset="0"/>
                <a:cs typeface="Calibri" panose="020F0502020204030204" pitchFamily="34" charset="0"/>
              </a:rPr>
              <a:t>Selected government energy scenario practitioners discussed </a:t>
            </a:r>
            <a:r>
              <a:rPr lang="en-US" sz="2200" b="1">
                <a:latin typeface="Calibri" panose="020F0502020204030204" pitchFamily="34" charset="0"/>
                <a:ea typeface="Calibri" panose="020F0502020204030204" pitchFamily="34" charset="0"/>
                <a:cs typeface="Calibri" panose="020F0502020204030204" pitchFamily="34" charset="0"/>
              </a:rPr>
              <a:t>current practices, experiences, challenges, and opportunities </a:t>
            </a:r>
            <a:r>
              <a:rPr lang="en-US" sz="2200">
                <a:latin typeface="Calibri" panose="020F0502020204030204" pitchFamily="34" charset="0"/>
                <a:ea typeface="Calibri" panose="020F0502020204030204" pitchFamily="34" charset="0"/>
                <a:cs typeface="Calibri" panose="020F0502020204030204" pitchFamily="34" charset="0"/>
              </a:rPr>
              <a:t>in developing and using LTES.</a:t>
            </a:r>
          </a:p>
        </p:txBody>
      </p:sp>
      <p:sp>
        <p:nvSpPr>
          <p:cNvPr id="4" name="Title 1">
            <a:extLst>
              <a:ext uri="{FF2B5EF4-FFF2-40B4-BE49-F238E27FC236}">
                <a16:creationId xmlns:a16="http://schemas.microsoft.com/office/drawing/2014/main" id="{E614ECFF-D44B-451B-FF0C-432D15F2788F}"/>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r>
              <a:rPr lang="en-US" altLang="en-US" sz="2551" b="1">
                <a:solidFill>
                  <a:srgbClr val="0872A6"/>
                </a:solidFill>
                <a:latin typeface="Calibri" panose="020F0502020204030204" pitchFamily="34" charset="0"/>
                <a:ea typeface="Calibri" panose="020F0502020204030204" pitchFamily="34" charset="0"/>
                <a:cs typeface="Calibri" panose="020F0502020204030204" pitchFamily="34" charset="0"/>
              </a:rPr>
              <a:t>Report’s Framework</a:t>
            </a:r>
          </a:p>
        </p:txBody>
      </p:sp>
      <p:pic>
        <p:nvPicPr>
          <p:cNvPr id="2" name="Picture 1">
            <a:extLst>
              <a:ext uri="{FF2B5EF4-FFF2-40B4-BE49-F238E27FC236}">
                <a16:creationId xmlns:a16="http://schemas.microsoft.com/office/drawing/2014/main" id="{D98B4DE2-9B3B-B281-1D07-BDA520652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3705" y="-98159"/>
            <a:ext cx="2640228" cy="988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9999943-20E5-9FB5-2D93-4324138D6615}"/>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7262037" y="36358"/>
            <a:ext cx="2094255" cy="718991"/>
          </a:xfrm>
          <a:prstGeom prst="rect">
            <a:avLst/>
          </a:prstGeom>
          <a:noFill/>
        </p:spPr>
      </p:pic>
      <p:pic>
        <p:nvPicPr>
          <p:cNvPr id="5" name="Picture 18">
            <a:extLst>
              <a:ext uri="{FF2B5EF4-FFF2-40B4-BE49-F238E27FC236}">
                <a16:creationId xmlns:a16="http://schemas.microsoft.com/office/drawing/2014/main" id="{CE3EC72D-0117-366A-408D-8607B8E9F531}"/>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8049684" y="5247647"/>
            <a:ext cx="2062086" cy="547634"/>
          </a:xfrm>
          <a:prstGeom prst="rect">
            <a:avLst/>
          </a:prstGeom>
        </p:spPr>
      </p:pic>
      <p:pic>
        <p:nvPicPr>
          <p:cNvPr id="6" name="Picture 5" descr="Uneca Logos">
            <a:extLst>
              <a:ext uri="{FF2B5EF4-FFF2-40B4-BE49-F238E27FC236}">
                <a16:creationId xmlns:a16="http://schemas.microsoft.com/office/drawing/2014/main" id="{5FF01268-9987-23EC-96A4-D3D099B0AA72}"/>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346845" y="5203878"/>
            <a:ext cx="1633552" cy="591403"/>
          </a:xfrm>
          <a:prstGeom prst="rect">
            <a:avLst/>
          </a:prstGeom>
          <a:noFill/>
          <a:ln>
            <a:noFill/>
          </a:ln>
        </p:spPr>
      </p:pic>
      <p:pic>
        <p:nvPicPr>
          <p:cNvPr id="7" name="Imagen 17">
            <a:extLst>
              <a:ext uri="{FF2B5EF4-FFF2-40B4-BE49-F238E27FC236}">
                <a16:creationId xmlns:a16="http://schemas.microsoft.com/office/drawing/2014/main" id="{5961B35D-02FC-5BCB-8AFB-05BDF6C08BDD}"/>
              </a:ext>
            </a:extLst>
          </p:cNvPr>
          <p:cNvPicPr/>
          <p:nvPr/>
        </p:nvPicPr>
        <p:blipFill>
          <a:blip r:embed="rId7" cstate="hqprint">
            <a:extLst>
              <a:ext uri="{28A0092B-C50C-407E-A947-70E740481C1C}">
                <a14:useLocalDpi xmlns:a14="http://schemas.microsoft.com/office/drawing/2010/main" val="0"/>
              </a:ext>
            </a:extLst>
          </a:blip>
          <a:stretch>
            <a:fillRect/>
          </a:stretch>
        </p:blipFill>
        <p:spPr>
          <a:xfrm>
            <a:off x="8177898" y="3887704"/>
            <a:ext cx="1805656" cy="532775"/>
          </a:xfrm>
          <a:prstGeom prst="rect">
            <a:avLst/>
          </a:prstGeom>
        </p:spPr>
      </p:pic>
      <p:pic>
        <p:nvPicPr>
          <p:cNvPr id="8" name="Picture 7" descr="Banque africaine de développement — Wikipédia">
            <a:extLst>
              <a:ext uri="{FF2B5EF4-FFF2-40B4-BE49-F238E27FC236}">
                <a16:creationId xmlns:a16="http://schemas.microsoft.com/office/drawing/2014/main" id="{143F3F29-69B2-B94C-3504-27C0628F90A0}"/>
              </a:ext>
            </a:extLst>
          </p:cNvPr>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77898" y="2470353"/>
            <a:ext cx="1477953" cy="783409"/>
          </a:xfrm>
          <a:prstGeom prst="rect">
            <a:avLst/>
          </a:prstGeom>
          <a:noFill/>
          <a:ln>
            <a:noFill/>
          </a:ln>
        </p:spPr>
      </p:pic>
      <p:pic>
        <p:nvPicPr>
          <p:cNvPr id="9" name="Picture 8">
            <a:extLst>
              <a:ext uri="{FF2B5EF4-FFF2-40B4-BE49-F238E27FC236}">
                <a16:creationId xmlns:a16="http://schemas.microsoft.com/office/drawing/2014/main" id="{A5B873C8-E54D-704F-5AFD-03B0DE27BD85}"/>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740523" y="1238262"/>
            <a:ext cx="2601677" cy="616270"/>
          </a:xfrm>
          <a:prstGeom prst="rect">
            <a:avLst/>
          </a:prstGeom>
          <a:noFill/>
          <a:ln>
            <a:noFill/>
          </a:ln>
        </p:spPr>
      </p:pic>
      <p:sp>
        <p:nvSpPr>
          <p:cNvPr id="11" name="TextBox 10">
            <a:hlinkClick r:id="rId10"/>
            <a:extLst>
              <a:ext uri="{FF2B5EF4-FFF2-40B4-BE49-F238E27FC236}">
                <a16:creationId xmlns:a16="http://schemas.microsoft.com/office/drawing/2014/main" id="{49FB1C74-715B-C29A-F848-5A04048B58AE}"/>
              </a:ext>
            </a:extLst>
          </p:cNvPr>
          <p:cNvSpPr txBox="1"/>
          <p:nvPr/>
        </p:nvSpPr>
        <p:spPr>
          <a:xfrm>
            <a:off x="8552150" y="5866665"/>
            <a:ext cx="105715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rena.org</a:t>
            </a:r>
          </a:p>
        </p:txBody>
      </p:sp>
      <p:sp>
        <p:nvSpPr>
          <p:cNvPr id="13" name="TextBox 12">
            <a:hlinkClick r:id="rId11"/>
            <a:extLst>
              <a:ext uri="{FF2B5EF4-FFF2-40B4-BE49-F238E27FC236}">
                <a16:creationId xmlns:a16="http://schemas.microsoft.com/office/drawing/2014/main" id="{69BE1A85-E4C4-94B1-2559-34204D547442}"/>
              </a:ext>
            </a:extLst>
          </p:cNvPr>
          <p:cNvSpPr txBox="1"/>
          <p:nvPr/>
        </p:nvSpPr>
        <p:spPr>
          <a:xfrm>
            <a:off x="10632892" y="5795281"/>
            <a:ext cx="1372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uneca</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5" name="TextBox 14">
            <a:hlinkClick r:id="rId12"/>
            <a:extLst>
              <a:ext uri="{FF2B5EF4-FFF2-40B4-BE49-F238E27FC236}">
                <a16:creationId xmlns:a16="http://schemas.microsoft.com/office/drawing/2014/main" id="{4DC1657A-A459-25C8-01A3-6A9BA36CA0AC}"/>
              </a:ext>
            </a:extLst>
          </p:cNvPr>
          <p:cNvSpPr txBox="1"/>
          <p:nvPr/>
        </p:nvSpPr>
        <p:spPr>
          <a:xfrm>
            <a:off x="8257445" y="4555483"/>
            <a:ext cx="24125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get-transform.eu</a:t>
            </a:r>
          </a:p>
        </p:txBody>
      </p:sp>
      <p:sp>
        <p:nvSpPr>
          <p:cNvPr id="16" name="TextBox 15">
            <a:hlinkClick r:id="rId13"/>
            <a:extLst>
              <a:ext uri="{FF2B5EF4-FFF2-40B4-BE49-F238E27FC236}">
                <a16:creationId xmlns:a16="http://schemas.microsoft.com/office/drawing/2014/main" id="{D1A28E69-6712-ED54-B242-24C46284E735}"/>
              </a:ext>
            </a:extLst>
          </p:cNvPr>
          <p:cNvSpPr txBox="1"/>
          <p:nvPr/>
        </p:nvSpPr>
        <p:spPr>
          <a:xfrm>
            <a:off x="8394356" y="3289454"/>
            <a:ext cx="1372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fdb</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17" name="TextBox 16">
            <a:hlinkClick r:id="rId14"/>
            <a:extLst>
              <a:ext uri="{FF2B5EF4-FFF2-40B4-BE49-F238E27FC236}">
                <a16:creationId xmlns:a16="http://schemas.microsoft.com/office/drawing/2014/main" id="{7C07C55D-E976-CC65-822C-9AC49EFCD8AF}"/>
              </a:ext>
            </a:extLst>
          </p:cNvPr>
          <p:cNvSpPr txBox="1"/>
          <p:nvPr/>
        </p:nvSpPr>
        <p:spPr>
          <a:xfrm>
            <a:off x="9609304" y="1743795"/>
            <a:ext cx="1372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epad</a:t>
            </a:r>
            <a:r>
              <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a:t>
            </a: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org</a:t>
            </a:r>
            <a:endParaRPr kumimoji="0" lang="en-GB" sz="16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18" name="Picture 17" descr="A picture containing text&#10;&#10;Description automatically generated">
            <a:extLst>
              <a:ext uri="{FF2B5EF4-FFF2-40B4-BE49-F238E27FC236}">
                <a16:creationId xmlns:a16="http://schemas.microsoft.com/office/drawing/2014/main" id="{B0007653-A38C-0664-89C7-62AA6DC32060}"/>
              </a:ext>
            </a:extLst>
          </p:cNvPr>
          <p:cNvPicPr/>
          <p:nvPr/>
        </p:nvPicPr>
        <p:blipFill>
          <a:blip r:embed="rId15" cstate="print">
            <a:extLst>
              <a:ext uri="{28A0092B-C50C-407E-A947-70E740481C1C}">
                <a14:useLocalDpi xmlns:a14="http://schemas.microsoft.com/office/drawing/2010/main" val="0"/>
              </a:ext>
            </a:extLst>
          </a:blip>
          <a:stretch>
            <a:fillRect/>
          </a:stretch>
        </p:blipFill>
        <p:spPr>
          <a:xfrm>
            <a:off x="10723548" y="3783242"/>
            <a:ext cx="796013" cy="816942"/>
          </a:xfrm>
          <a:prstGeom prst="rect">
            <a:avLst/>
          </a:prstGeom>
        </p:spPr>
      </p:pic>
      <p:sp>
        <p:nvSpPr>
          <p:cNvPr id="19" name="TextBox 18">
            <a:hlinkClick r:id="rId16"/>
            <a:extLst>
              <a:ext uri="{FF2B5EF4-FFF2-40B4-BE49-F238E27FC236}">
                <a16:creationId xmlns:a16="http://schemas.microsoft.com/office/drawing/2014/main" id="{B27F8AF9-00D0-584D-BC26-473B77DB02E3}"/>
              </a:ext>
            </a:extLst>
          </p:cNvPr>
          <p:cNvSpPr txBox="1"/>
          <p:nvPr/>
        </p:nvSpPr>
        <p:spPr>
          <a:xfrm>
            <a:off x="10319515" y="4555483"/>
            <a:ext cx="13727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nergy.go.ke</a:t>
            </a:r>
          </a:p>
        </p:txBody>
      </p:sp>
      <p:pic>
        <p:nvPicPr>
          <p:cNvPr id="20" name="Picture 19" descr="Logo, company name&#10;&#10;Description automatically generated">
            <a:extLst>
              <a:ext uri="{FF2B5EF4-FFF2-40B4-BE49-F238E27FC236}">
                <a16:creationId xmlns:a16="http://schemas.microsoft.com/office/drawing/2014/main" id="{CFD4EABF-FC4F-E7E0-523A-C1C90CDF1C93}"/>
              </a:ext>
            </a:extLst>
          </p:cNvPr>
          <p:cNvPicPr>
            <a:picLocks noChangeAspect="1"/>
          </p:cNvPicPr>
          <p:nvPr/>
        </p:nvPicPr>
        <p:blipFill rotWithShape="1">
          <a:blip r:embed="rId17" cstate="hqprint">
            <a:extLst>
              <a:ext uri="{28A0092B-C50C-407E-A947-70E740481C1C}">
                <a14:useLocalDpi xmlns:a14="http://schemas.microsoft.com/office/drawing/2010/main" val="0"/>
              </a:ext>
            </a:extLst>
          </a:blip>
          <a:srcRect t="15201" b="20797"/>
          <a:stretch/>
        </p:blipFill>
        <p:spPr>
          <a:xfrm>
            <a:off x="9983554" y="2626773"/>
            <a:ext cx="1992163" cy="616270"/>
          </a:xfrm>
          <a:prstGeom prst="rect">
            <a:avLst/>
          </a:prstGeom>
        </p:spPr>
      </p:pic>
      <p:sp>
        <p:nvSpPr>
          <p:cNvPr id="21" name="TextBox 20">
            <a:hlinkClick r:id="rId18"/>
            <a:extLst>
              <a:ext uri="{FF2B5EF4-FFF2-40B4-BE49-F238E27FC236}">
                <a16:creationId xmlns:a16="http://schemas.microsoft.com/office/drawing/2014/main" id="{C27B799C-27AB-5A1C-612D-E8B2DC430701}"/>
              </a:ext>
            </a:extLst>
          </p:cNvPr>
          <p:cNvSpPr txBox="1"/>
          <p:nvPr/>
        </p:nvSpPr>
        <p:spPr>
          <a:xfrm>
            <a:off x="10253468" y="3275230"/>
            <a:ext cx="1941127"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u.int/commission</a:t>
            </a:r>
          </a:p>
        </p:txBody>
      </p:sp>
    </p:spTree>
    <p:extLst>
      <p:ext uri="{BB962C8B-B14F-4D97-AF65-F5344CB8AC3E}">
        <p14:creationId xmlns:p14="http://schemas.microsoft.com/office/powerpoint/2010/main" val="35969806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14ECFF-D44B-451B-FF0C-432D15F2788F}"/>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r>
              <a:rPr lang="en-US" altLang="en-US" sz="2550" b="1">
                <a:solidFill>
                  <a:srgbClr val="0872A6"/>
                </a:solidFill>
                <a:ea typeface="MS PGothic"/>
              </a:rPr>
              <a:t>Speakers (LTES Members)</a:t>
            </a:r>
            <a:endParaRPr lang="en-US" altLang="en-US" sz="2551" b="1">
              <a:solidFill>
                <a:srgbClr val="0872A6"/>
              </a:solidFill>
              <a:ea typeface="MS PGothic" panose="020B0600070205080204" pitchFamily="34" charset="-128"/>
            </a:endParaRPr>
          </a:p>
        </p:txBody>
      </p:sp>
      <p:pic>
        <p:nvPicPr>
          <p:cNvPr id="5" name="Content Placeholder 4">
            <a:extLst>
              <a:ext uri="{FF2B5EF4-FFF2-40B4-BE49-F238E27FC236}">
                <a16:creationId xmlns:a16="http://schemas.microsoft.com/office/drawing/2014/main" id="{2431D1F6-161C-FFA5-C495-DD206C86E7FC}"/>
              </a:ext>
            </a:extLst>
          </p:cNvPr>
          <p:cNvPicPr>
            <a:picLocks noGrp="1" noChangeAspect="1"/>
          </p:cNvPicPr>
          <p:nvPr>
            <p:ph idx="1"/>
          </p:nvPr>
        </p:nvPicPr>
        <p:blipFill>
          <a:blip r:embed="rId3"/>
          <a:stretch>
            <a:fillRect/>
          </a:stretch>
        </p:blipFill>
        <p:spPr>
          <a:xfrm>
            <a:off x="589502" y="967000"/>
            <a:ext cx="2538185" cy="4183742"/>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85AED23B-4FB3-CF76-2DDC-1D93902FF2F6}"/>
              </a:ext>
            </a:extLst>
          </p:cNvPr>
          <p:cNvPicPr>
            <a:picLocks noChangeAspect="1"/>
          </p:cNvPicPr>
          <p:nvPr/>
        </p:nvPicPr>
        <p:blipFill rotWithShape="1">
          <a:blip r:embed="rId4"/>
          <a:srcRect l="9057" t="-1" b="781"/>
          <a:stretch/>
        </p:blipFill>
        <p:spPr>
          <a:xfrm>
            <a:off x="8074476" y="1010690"/>
            <a:ext cx="2809356" cy="3960585"/>
          </a:xfrm>
          <a:prstGeom prst="rect">
            <a:avLst/>
          </a:prstGeom>
          <a:ln>
            <a:noFill/>
          </a:ln>
          <a:effectLst>
            <a:outerShdw blurRad="292100" dist="139700" dir="2700000" algn="tl" rotWithShape="0">
              <a:srgbClr val="333333">
                <a:alpha val="65000"/>
              </a:srgbClr>
            </a:outerShdw>
          </a:effectLst>
        </p:spPr>
      </p:pic>
      <p:sp>
        <p:nvSpPr>
          <p:cNvPr id="2" name="TextBox 1">
            <a:extLst>
              <a:ext uri="{FF2B5EF4-FFF2-40B4-BE49-F238E27FC236}">
                <a16:creationId xmlns:a16="http://schemas.microsoft.com/office/drawing/2014/main" id="{3263325C-8D52-F721-A313-E8D3A2926916}"/>
              </a:ext>
            </a:extLst>
          </p:cNvPr>
          <p:cNvSpPr txBox="1"/>
          <p:nvPr/>
        </p:nvSpPr>
        <p:spPr>
          <a:xfrm>
            <a:off x="4116993" y="5881048"/>
            <a:ext cx="4492949" cy="369332"/>
          </a:xfrm>
          <a:prstGeom prst="rect">
            <a:avLst/>
          </a:prstGeom>
          <a:noFill/>
        </p:spPr>
        <p:txBody>
          <a:bodyPr wrap="square" lIns="91440" tIns="45720" rIns="91440" bIns="45720" rtlCol="0" anchor="t">
            <a:spAutoFit/>
          </a:bodyPr>
          <a:lstStyle/>
          <a:p>
            <a:r>
              <a:rPr lang="en-GB">
                <a:latin typeface="Calibri"/>
                <a:ea typeface="Calibri" panose="020F0502020204030204" pitchFamily="34" charset="0"/>
                <a:cs typeface="Calibri"/>
              </a:rPr>
              <a:t>From top left to right: Egypt, Ghana and Kenya</a:t>
            </a:r>
            <a:endParaRPr lang="en-US"/>
          </a:p>
        </p:txBody>
      </p:sp>
      <p:pic>
        <p:nvPicPr>
          <p:cNvPr id="3" name="Picture 2">
            <a:extLst>
              <a:ext uri="{FF2B5EF4-FFF2-40B4-BE49-F238E27FC236}">
                <a16:creationId xmlns:a16="http://schemas.microsoft.com/office/drawing/2014/main" id="{ABAFCA76-A7E0-C2EB-46B9-4B1117B0E1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59308" y="-4004"/>
            <a:ext cx="2052959" cy="76825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7498A92-FB36-0DC3-5ACE-B663837CD464}"/>
              </a:ext>
            </a:extLst>
          </p:cNvPr>
          <p:cNvPicPr/>
          <p:nvPr/>
        </p:nvPicPr>
        <p:blipFill>
          <a:blip r:embed="rId6">
            <a:extLst>
              <a:ext uri="{28A0092B-C50C-407E-A947-70E740481C1C}">
                <a14:useLocalDpi xmlns:a14="http://schemas.microsoft.com/office/drawing/2010/main" val="0"/>
              </a:ext>
            </a:extLst>
          </a:blip>
          <a:stretch>
            <a:fillRect/>
          </a:stretch>
        </p:blipFill>
        <p:spPr bwMode="auto">
          <a:xfrm>
            <a:off x="8747556" y="100591"/>
            <a:ext cx="1211752" cy="559065"/>
          </a:xfrm>
          <a:prstGeom prst="rect">
            <a:avLst/>
          </a:prstGeom>
          <a:noFill/>
        </p:spPr>
      </p:pic>
      <p:pic>
        <p:nvPicPr>
          <p:cNvPr id="11" name="Picture 10">
            <a:extLst>
              <a:ext uri="{FF2B5EF4-FFF2-40B4-BE49-F238E27FC236}">
                <a16:creationId xmlns:a16="http://schemas.microsoft.com/office/drawing/2014/main" id="{868EEF75-E063-B94E-3C0D-38F721ACC420}"/>
              </a:ext>
            </a:extLst>
          </p:cNvPr>
          <p:cNvPicPr>
            <a:picLocks noChangeAspect="1"/>
          </p:cNvPicPr>
          <p:nvPr/>
        </p:nvPicPr>
        <p:blipFill>
          <a:blip r:embed="rId7"/>
          <a:stretch>
            <a:fillRect/>
          </a:stretch>
        </p:blipFill>
        <p:spPr>
          <a:xfrm>
            <a:off x="3878067" y="1012849"/>
            <a:ext cx="3342617" cy="376862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70065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614ECFF-D44B-451B-FF0C-432D15F2788F}"/>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r>
              <a:rPr lang="en-US" altLang="en-US" sz="2551" b="1">
                <a:solidFill>
                  <a:srgbClr val="0872A6"/>
                </a:solidFill>
                <a:ea typeface="MS PGothic" panose="020B0600070205080204" pitchFamily="34" charset="-128"/>
              </a:rPr>
              <a:t>Speakers</a:t>
            </a:r>
          </a:p>
        </p:txBody>
      </p:sp>
      <p:sp>
        <p:nvSpPr>
          <p:cNvPr id="2" name="TextBox 1">
            <a:extLst>
              <a:ext uri="{FF2B5EF4-FFF2-40B4-BE49-F238E27FC236}">
                <a16:creationId xmlns:a16="http://schemas.microsoft.com/office/drawing/2014/main" id="{3263325C-8D52-F721-A313-E8D3A2926916}"/>
              </a:ext>
            </a:extLst>
          </p:cNvPr>
          <p:cNvSpPr txBox="1"/>
          <p:nvPr/>
        </p:nvSpPr>
        <p:spPr>
          <a:xfrm>
            <a:off x="9142672" y="5115250"/>
            <a:ext cx="3050592" cy="1477328"/>
          </a:xfrm>
          <a:prstGeom prst="rect">
            <a:avLst/>
          </a:prstGeom>
          <a:noFill/>
        </p:spPr>
        <p:txBody>
          <a:bodyPr wrap="square" lIns="91440" tIns="45720" rIns="91440" bIns="45720" rtlCol="0" anchor="t">
            <a:spAutoFit/>
          </a:bodyPr>
          <a:lstStyle/>
          <a:p>
            <a:r>
              <a:rPr lang="en-GB">
                <a:latin typeface="Calibri" panose="020F0502020204030204" pitchFamily="34" charset="0"/>
                <a:ea typeface="Calibri" panose="020F0502020204030204" pitchFamily="34" charset="0"/>
                <a:cs typeface="Calibri" panose="020F0502020204030204" pitchFamily="34" charset="0"/>
              </a:rPr>
              <a:t>From top left to right and to the bottom:</a:t>
            </a:r>
          </a:p>
          <a:p>
            <a:r>
              <a:rPr lang="en-GB">
                <a:latin typeface="Calibri"/>
                <a:ea typeface="Calibri" panose="020F0502020204030204" pitchFamily="34" charset="0"/>
                <a:cs typeface="Calibri"/>
              </a:rPr>
              <a:t>Eswatini, Nigeria, Morocco Tunisia, South Africa and Botswana</a:t>
            </a:r>
          </a:p>
        </p:txBody>
      </p:sp>
      <p:pic>
        <p:nvPicPr>
          <p:cNvPr id="7" name="Picture 6">
            <a:extLst>
              <a:ext uri="{FF2B5EF4-FFF2-40B4-BE49-F238E27FC236}">
                <a16:creationId xmlns:a16="http://schemas.microsoft.com/office/drawing/2014/main" id="{DBBA8C95-78FC-2536-34C5-D3BE03AE95A2}"/>
              </a:ext>
            </a:extLst>
          </p:cNvPr>
          <p:cNvPicPr>
            <a:picLocks noChangeAspect="1"/>
          </p:cNvPicPr>
          <p:nvPr/>
        </p:nvPicPr>
        <p:blipFill>
          <a:blip r:embed="rId3"/>
          <a:stretch>
            <a:fillRect/>
          </a:stretch>
        </p:blipFill>
        <p:spPr>
          <a:xfrm>
            <a:off x="549254" y="1109977"/>
            <a:ext cx="2925995" cy="2549431"/>
          </a:xfrm>
          <a:prstGeom prst="rect">
            <a:avLst/>
          </a:prstGeom>
          <a:ln>
            <a:noFill/>
          </a:ln>
          <a:effectLst>
            <a:outerShdw blurRad="292100" dist="139700" dir="2700000" algn="tl" rotWithShape="0">
              <a:srgbClr val="333333">
                <a:alpha val="65000"/>
              </a:srgbClr>
            </a:outerShdw>
          </a:effectLst>
        </p:spPr>
      </p:pic>
      <p:pic>
        <p:nvPicPr>
          <p:cNvPr id="8" name="Picture 7" descr="A person wearing a blue shirt and tie&#10;&#10;Description automatically generated">
            <a:extLst>
              <a:ext uri="{FF2B5EF4-FFF2-40B4-BE49-F238E27FC236}">
                <a16:creationId xmlns:a16="http://schemas.microsoft.com/office/drawing/2014/main" id="{F209F333-68F8-7B72-3F43-E6F16828CB36}"/>
              </a:ext>
            </a:extLst>
          </p:cNvPr>
          <p:cNvPicPr>
            <a:picLocks noChangeAspect="1"/>
          </p:cNvPicPr>
          <p:nvPr/>
        </p:nvPicPr>
        <p:blipFill>
          <a:blip r:embed="rId4"/>
          <a:stretch>
            <a:fillRect/>
          </a:stretch>
        </p:blipFill>
        <p:spPr>
          <a:xfrm>
            <a:off x="5801613" y="4110377"/>
            <a:ext cx="3238347" cy="2542825"/>
          </a:xfrm>
          <a:prstGeom prst="rect">
            <a:avLst/>
          </a:prstGeom>
          <a:ln>
            <a:noFill/>
          </a:ln>
          <a:effectLst>
            <a:outerShdw blurRad="292100" dist="139700" dir="2700000" algn="tl" rotWithShape="0">
              <a:srgbClr val="333333">
                <a:alpha val="65000"/>
              </a:srgbClr>
            </a:outerShdw>
          </a:effectLst>
        </p:spPr>
      </p:pic>
      <p:pic>
        <p:nvPicPr>
          <p:cNvPr id="5" name="Picture 4">
            <a:extLst>
              <a:ext uri="{FF2B5EF4-FFF2-40B4-BE49-F238E27FC236}">
                <a16:creationId xmlns:a16="http://schemas.microsoft.com/office/drawing/2014/main" id="{58107C11-2A63-D554-0BB9-998E9E3BA53C}"/>
              </a:ext>
            </a:extLst>
          </p:cNvPr>
          <p:cNvPicPr>
            <a:picLocks noChangeAspect="1"/>
          </p:cNvPicPr>
          <p:nvPr/>
        </p:nvPicPr>
        <p:blipFill>
          <a:blip r:embed="rId5"/>
          <a:stretch>
            <a:fillRect/>
          </a:stretch>
        </p:blipFill>
        <p:spPr>
          <a:xfrm>
            <a:off x="547484" y="4052382"/>
            <a:ext cx="2599934" cy="2655026"/>
          </a:xfrm>
          <a:prstGeom prst="rect">
            <a:avLst/>
          </a:prstGeom>
        </p:spPr>
      </p:pic>
      <p:pic>
        <p:nvPicPr>
          <p:cNvPr id="3" name="Picture 2">
            <a:extLst>
              <a:ext uri="{FF2B5EF4-FFF2-40B4-BE49-F238E27FC236}">
                <a16:creationId xmlns:a16="http://schemas.microsoft.com/office/drawing/2014/main" id="{A9A60A30-88D9-6725-8101-FD2D85CCEC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11552" y="-120120"/>
            <a:ext cx="2640228" cy="9880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5852DB58-F7F6-16EC-A6A3-018AA186D155}"/>
              </a:ext>
            </a:extLst>
          </p:cNvPr>
          <p:cNvPicPr/>
          <p:nvPr/>
        </p:nvPicPr>
        <p:blipFill>
          <a:blip r:embed="rId7">
            <a:extLst>
              <a:ext uri="{28A0092B-C50C-407E-A947-70E740481C1C}">
                <a14:useLocalDpi xmlns:a14="http://schemas.microsoft.com/office/drawing/2010/main" val="0"/>
              </a:ext>
            </a:extLst>
          </a:blip>
          <a:stretch>
            <a:fillRect/>
          </a:stretch>
        </p:blipFill>
        <p:spPr bwMode="auto">
          <a:xfrm>
            <a:off x="7309884" y="14397"/>
            <a:ext cx="2094255" cy="718991"/>
          </a:xfrm>
          <a:prstGeom prst="rect">
            <a:avLst/>
          </a:prstGeom>
          <a:noFill/>
        </p:spPr>
      </p:pic>
      <p:pic>
        <p:nvPicPr>
          <p:cNvPr id="10" name="Picture 9">
            <a:extLst>
              <a:ext uri="{FF2B5EF4-FFF2-40B4-BE49-F238E27FC236}">
                <a16:creationId xmlns:a16="http://schemas.microsoft.com/office/drawing/2014/main" id="{B030DFF8-2071-67AB-B18C-CF8B5480C28D}"/>
              </a:ext>
            </a:extLst>
          </p:cNvPr>
          <p:cNvPicPr>
            <a:picLocks noChangeAspect="1"/>
          </p:cNvPicPr>
          <p:nvPr/>
        </p:nvPicPr>
        <p:blipFill rotWithShape="1">
          <a:blip r:embed="rId8"/>
          <a:srcRect l="9866" r="10458"/>
          <a:stretch/>
        </p:blipFill>
        <p:spPr>
          <a:xfrm>
            <a:off x="3576485" y="4050891"/>
            <a:ext cx="1948121" cy="2765374"/>
          </a:xfrm>
          <a:prstGeom prst="rect">
            <a:avLst/>
          </a:prstGeom>
          <a:ln>
            <a:noFill/>
          </a:ln>
          <a:effectLst>
            <a:outerShdw blurRad="292100" dist="139700" dir="2700000" algn="tl" rotWithShape="0">
              <a:srgbClr val="333333">
                <a:alpha val="65000"/>
              </a:srgbClr>
            </a:outerShdw>
          </a:effectLst>
        </p:spPr>
      </p:pic>
      <p:pic>
        <p:nvPicPr>
          <p:cNvPr id="11" name="Picture 10" descr="A person in a suit and tie&#10;&#10;Description automatically generated">
            <a:extLst>
              <a:ext uri="{FF2B5EF4-FFF2-40B4-BE49-F238E27FC236}">
                <a16:creationId xmlns:a16="http://schemas.microsoft.com/office/drawing/2014/main" id="{A7702F60-DBC4-9AF0-D00F-756B23FF436E}"/>
              </a:ext>
            </a:extLst>
          </p:cNvPr>
          <p:cNvPicPr>
            <a:picLocks noChangeAspect="1"/>
          </p:cNvPicPr>
          <p:nvPr/>
        </p:nvPicPr>
        <p:blipFill>
          <a:blip r:embed="rId9"/>
          <a:stretch>
            <a:fillRect/>
          </a:stretch>
        </p:blipFill>
        <p:spPr>
          <a:xfrm>
            <a:off x="4548210" y="1124990"/>
            <a:ext cx="2016868" cy="2531607"/>
          </a:xfrm>
          <a:prstGeom prst="rect">
            <a:avLst/>
          </a:prstGeom>
          <a:ln>
            <a:noFill/>
          </a:ln>
          <a:effectLst>
            <a:outerShdw blurRad="292100" dist="139700" dir="2700000" algn="tl" rotWithShape="0">
              <a:srgbClr val="333333">
                <a:alpha val="65000"/>
              </a:srgbClr>
            </a:outerShdw>
          </a:effectLst>
        </p:spPr>
      </p:pic>
      <p:pic>
        <p:nvPicPr>
          <p:cNvPr id="13" name="Picture 12" descr="A person wearing a blue scarf&#10;&#10;Description automatically generated">
            <a:extLst>
              <a:ext uri="{FF2B5EF4-FFF2-40B4-BE49-F238E27FC236}">
                <a16:creationId xmlns:a16="http://schemas.microsoft.com/office/drawing/2014/main" id="{562A6AF0-CB84-2484-2F66-0BD75305F1CD}"/>
              </a:ext>
            </a:extLst>
          </p:cNvPr>
          <p:cNvPicPr>
            <a:picLocks noChangeAspect="1"/>
          </p:cNvPicPr>
          <p:nvPr/>
        </p:nvPicPr>
        <p:blipFill>
          <a:blip r:embed="rId10"/>
          <a:stretch>
            <a:fillRect/>
          </a:stretch>
        </p:blipFill>
        <p:spPr>
          <a:xfrm>
            <a:off x="7376743" y="1175994"/>
            <a:ext cx="3331371" cy="243241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118688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a:extLst>
              <a:ext uri="{FF2B5EF4-FFF2-40B4-BE49-F238E27FC236}">
                <a16:creationId xmlns:a16="http://schemas.microsoft.com/office/drawing/2014/main" id="{97AE5B27-7972-1535-9AA5-30BC7DC043CE}"/>
              </a:ext>
            </a:extLst>
          </p:cNvPr>
          <p:cNvPicPr>
            <a:picLocks noChangeAspect="1"/>
          </p:cNvPicPr>
          <p:nvPr/>
        </p:nvPicPr>
        <p:blipFill rotWithShape="1">
          <a:blip r:embed="rId3"/>
          <a:srcRect b="21617"/>
          <a:stretch/>
        </p:blipFill>
        <p:spPr>
          <a:xfrm>
            <a:off x="20" y="1282"/>
            <a:ext cx="12191980" cy="6856718"/>
          </a:xfrm>
          <a:prstGeom prst="rect">
            <a:avLst/>
          </a:prstGeom>
        </p:spPr>
      </p:pic>
      <p:sp>
        <p:nvSpPr>
          <p:cNvPr id="3" name="TextBox 2">
            <a:extLst>
              <a:ext uri="{FF2B5EF4-FFF2-40B4-BE49-F238E27FC236}">
                <a16:creationId xmlns:a16="http://schemas.microsoft.com/office/drawing/2014/main" id="{475FD991-2C45-7F87-13EB-5D4CBCC47B6F}"/>
              </a:ext>
            </a:extLst>
          </p:cNvPr>
          <p:cNvSpPr txBox="1"/>
          <p:nvPr/>
        </p:nvSpPr>
        <p:spPr>
          <a:xfrm>
            <a:off x="6591869" y="6333498"/>
            <a:ext cx="5600131" cy="523220"/>
          </a:xfrm>
          <a:prstGeom prst="rect">
            <a:avLst/>
          </a:prstGeom>
          <a:solidFill>
            <a:schemeClr val="accent4"/>
          </a:solidFill>
        </p:spPr>
        <p:txBody>
          <a:bodyPr wrap="square">
            <a:spAutoFit/>
          </a:bodyPr>
          <a:lstStyle/>
          <a:p>
            <a:r>
              <a:rPr lang="en-GB" sz="1400"/>
              <a:t>https://</a:t>
            </a:r>
            <a:r>
              <a:rPr lang="en-GB" sz="1400" err="1"/>
              <a:t>www.irena.org</a:t>
            </a:r>
            <a:r>
              <a:rPr lang="en-GB" sz="1400"/>
              <a:t>/Energy-Transition/Planning/Long-term-energy-planning-support/National-Energy-Transition-Planning-Dashboard</a:t>
            </a:r>
          </a:p>
        </p:txBody>
      </p:sp>
    </p:spTree>
    <p:extLst>
      <p:ext uri="{BB962C8B-B14F-4D97-AF65-F5344CB8AC3E}">
        <p14:creationId xmlns:p14="http://schemas.microsoft.com/office/powerpoint/2010/main" val="2563641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9A4F920E-709F-1298-4E1E-913D1B098013}"/>
              </a:ext>
            </a:extLst>
          </p:cNvPr>
          <p:cNvSpPr/>
          <p:nvPr/>
        </p:nvSpPr>
        <p:spPr>
          <a:xfrm>
            <a:off x="253314" y="1087395"/>
            <a:ext cx="11813059" cy="5362832"/>
          </a:xfrm>
          <a:prstGeom prst="rect">
            <a:avLst/>
          </a:prstGeom>
          <a:solidFill>
            <a:srgbClr val="0872A6"/>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latin typeface="Calibri" panose="020F0502020204030204" pitchFamily="34" charset="0"/>
              <a:ea typeface="Calibri" panose="020F0502020204030204" pitchFamily="34" charset="0"/>
              <a:cs typeface="Calibri" panose="020F0502020204030204" pitchFamily="34" charset="0"/>
            </a:endParaRPr>
          </a:p>
        </p:txBody>
      </p:sp>
      <p:sp>
        <p:nvSpPr>
          <p:cNvPr id="4" name="Title 1">
            <a:extLst>
              <a:ext uri="{FF2B5EF4-FFF2-40B4-BE49-F238E27FC236}">
                <a16:creationId xmlns:a16="http://schemas.microsoft.com/office/drawing/2014/main" id="{E614ECFF-D44B-451B-FF0C-432D15F2788F}"/>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r>
              <a:rPr lang="en-US" altLang="en-US" sz="2551" b="1">
                <a:solidFill>
                  <a:srgbClr val="0872A6"/>
                </a:solidFill>
                <a:latin typeface="Calibri" panose="020F0502020204030204" pitchFamily="34" charset="0"/>
                <a:ea typeface="Calibri" panose="020F0502020204030204" pitchFamily="34" charset="0"/>
                <a:cs typeface="Calibri" panose="020F0502020204030204" pitchFamily="34" charset="0"/>
              </a:rPr>
              <a:t>National Energy Planning Documents</a:t>
            </a:r>
          </a:p>
        </p:txBody>
      </p:sp>
      <p:pic>
        <p:nvPicPr>
          <p:cNvPr id="3" name="Picture 2">
            <a:extLst>
              <a:ext uri="{FF2B5EF4-FFF2-40B4-BE49-F238E27FC236}">
                <a16:creationId xmlns:a16="http://schemas.microsoft.com/office/drawing/2014/main" id="{A9A60A30-88D9-6725-8101-FD2D85CCEC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11552" y="-120120"/>
            <a:ext cx="2640228" cy="98802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5852DB58-F7F6-16EC-A6A3-018AA186D155}"/>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7309884" y="14397"/>
            <a:ext cx="2094255" cy="718991"/>
          </a:xfrm>
          <a:prstGeom prst="rect">
            <a:avLst/>
          </a:prstGeom>
          <a:noFill/>
        </p:spPr>
      </p:pic>
      <p:pic>
        <p:nvPicPr>
          <p:cNvPr id="11" name="Picture 5" descr="Graphical user interface, text, application&#10;&#10;Description automatically generated">
            <a:extLst>
              <a:ext uri="{FF2B5EF4-FFF2-40B4-BE49-F238E27FC236}">
                <a16:creationId xmlns:a16="http://schemas.microsoft.com/office/drawing/2014/main" id="{3FB5154B-B918-5539-5BAA-AB631E6A5AD1}"/>
              </a:ext>
            </a:extLst>
          </p:cNvPr>
          <p:cNvPicPr>
            <a:picLocks noChangeAspect="1"/>
          </p:cNvPicPr>
          <p:nvPr/>
        </p:nvPicPr>
        <p:blipFill>
          <a:blip r:embed="rId5"/>
          <a:stretch>
            <a:fillRect/>
          </a:stretch>
        </p:blipFill>
        <p:spPr>
          <a:xfrm>
            <a:off x="537482" y="1284515"/>
            <a:ext cx="1152275" cy="1645920"/>
          </a:xfrm>
          <a:prstGeom prst="rect">
            <a:avLst/>
          </a:prstGeom>
          <a:effectLst>
            <a:outerShdw blurRad="50800" dist="38100" dir="2700000" algn="tl" rotWithShape="0">
              <a:prstClr val="black">
                <a:alpha val="40000"/>
              </a:prstClr>
            </a:outerShdw>
          </a:effectLst>
        </p:spPr>
      </p:pic>
      <p:pic>
        <p:nvPicPr>
          <p:cNvPr id="12" name="Picture 9">
            <a:extLst>
              <a:ext uri="{FF2B5EF4-FFF2-40B4-BE49-F238E27FC236}">
                <a16:creationId xmlns:a16="http://schemas.microsoft.com/office/drawing/2014/main" id="{94AF1DCB-B39A-AFCA-330C-12ECEBAD93B7}"/>
              </a:ext>
            </a:extLst>
          </p:cNvPr>
          <p:cNvPicPr>
            <a:picLocks noChangeAspect="1"/>
          </p:cNvPicPr>
          <p:nvPr/>
        </p:nvPicPr>
        <p:blipFill>
          <a:blip r:embed="rId6"/>
          <a:stretch>
            <a:fillRect/>
          </a:stretch>
        </p:blipFill>
        <p:spPr>
          <a:xfrm>
            <a:off x="3694013" y="1284515"/>
            <a:ext cx="1173299" cy="1645920"/>
          </a:xfrm>
          <a:prstGeom prst="rect">
            <a:avLst/>
          </a:prstGeom>
          <a:effectLst>
            <a:outerShdw blurRad="50800" dist="38100" dir="2700000" algn="tl" rotWithShape="0">
              <a:prstClr val="black">
                <a:alpha val="40000"/>
              </a:prstClr>
            </a:outerShdw>
          </a:effectLst>
        </p:spPr>
      </p:pic>
      <p:pic>
        <p:nvPicPr>
          <p:cNvPr id="13" name="Picture 11" descr="Graphical user interface, application&#10;&#10;Description automatically generated">
            <a:extLst>
              <a:ext uri="{FF2B5EF4-FFF2-40B4-BE49-F238E27FC236}">
                <a16:creationId xmlns:a16="http://schemas.microsoft.com/office/drawing/2014/main" id="{914F162F-C5B2-D5D5-8BCF-1A375CCD81FB}"/>
              </a:ext>
            </a:extLst>
          </p:cNvPr>
          <p:cNvPicPr>
            <a:picLocks noChangeAspect="1"/>
          </p:cNvPicPr>
          <p:nvPr/>
        </p:nvPicPr>
        <p:blipFill>
          <a:blip r:embed="rId7"/>
          <a:stretch>
            <a:fillRect/>
          </a:stretch>
        </p:blipFill>
        <p:spPr>
          <a:xfrm>
            <a:off x="5180238" y="1284515"/>
            <a:ext cx="1112188" cy="1645920"/>
          </a:xfrm>
          <a:prstGeom prst="rect">
            <a:avLst/>
          </a:prstGeom>
          <a:effectLst>
            <a:outerShdw blurRad="50800" dist="38100" dir="2700000" algn="tl" rotWithShape="0">
              <a:prstClr val="black">
                <a:alpha val="40000"/>
              </a:prstClr>
            </a:outerShdw>
          </a:effectLst>
        </p:spPr>
      </p:pic>
      <p:pic>
        <p:nvPicPr>
          <p:cNvPr id="14" name="Picture 12" descr="Graphical user interface, application&#10;&#10;Description automatically generated">
            <a:extLst>
              <a:ext uri="{FF2B5EF4-FFF2-40B4-BE49-F238E27FC236}">
                <a16:creationId xmlns:a16="http://schemas.microsoft.com/office/drawing/2014/main" id="{41220E4C-0081-0378-ABB1-8DA454FD0595}"/>
              </a:ext>
            </a:extLst>
          </p:cNvPr>
          <p:cNvPicPr>
            <a:picLocks noChangeAspect="1"/>
          </p:cNvPicPr>
          <p:nvPr/>
        </p:nvPicPr>
        <p:blipFill>
          <a:blip r:embed="rId8"/>
          <a:stretch>
            <a:fillRect/>
          </a:stretch>
        </p:blipFill>
        <p:spPr>
          <a:xfrm>
            <a:off x="364898" y="3865166"/>
            <a:ext cx="1232337" cy="1645920"/>
          </a:xfrm>
          <a:prstGeom prst="rect">
            <a:avLst/>
          </a:prstGeom>
          <a:effectLst>
            <a:outerShdw blurRad="50800" dist="38100" dir="2700000" algn="tl" rotWithShape="0">
              <a:prstClr val="black">
                <a:alpha val="40000"/>
              </a:prstClr>
            </a:outerShdw>
          </a:effectLst>
        </p:spPr>
      </p:pic>
      <p:pic>
        <p:nvPicPr>
          <p:cNvPr id="15" name="Picture 13" descr="A picture containing text&#10;&#10;Description automatically generated">
            <a:extLst>
              <a:ext uri="{FF2B5EF4-FFF2-40B4-BE49-F238E27FC236}">
                <a16:creationId xmlns:a16="http://schemas.microsoft.com/office/drawing/2014/main" id="{06F093EC-46D9-81C0-4D27-281DD320877D}"/>
              </a:ext>
            </a:extLst>
          </p:cNvPr>
          <p:cNvPicPr>
            <a:picLocks noChangeAspect="1"/>
          </p:cNvPicPr>
          <p:nvPr/>
        </p:nvPicPr>
        <p:blipFill>
          <a:blip r:embed="rId9"/>
          <a:stretch>
            <a:fillRect/>
          </a:stretch>
        </p:blipFill>
        <p:spPr>
          <a:xfrm>
            <a:off x="1745050" y="3865166"/>
            <a:ext cx="1168435" cy="1645920"/>
          </a:xfrm>
          <a:prstGeom prst="rect">
            <a:avLst/>
          </a:prstGeom>
          <a:effectLst>
            <a:outerShdw blurRad="50800" dist="38100" dir="2700000" algn="tl" rotWithShape="0">
              <a:prstClr val="black">
                <a:alpha val="40000"/>
              </a:prstClr>
            </a:outerShdw>
          </a:effectLst>
        </p:spPr>
      </p:pic>
      <p:pic>
        <p:nvPicPr>
          <p:cNvPr id="16" name="Picture 14" descr="Diagram&#10;&#10;Description automatically generated">
            <a:extLst>
              <a:ext uri="{FF2B5EF4-FFF2-40B4-BE49-F238E27FC236}">
                <a16:creationId xmlns:a16="http://schemas.microsoft.com/office/drawing/2014/main" id="{3793F665-5D30-2CE6-BBAB-4D61FB3DD9C0}"/>
              </a:ext>
            </a:extLst>
          </p:cNvPr>
          <p:cNvPicPr>
            <a:picLocks noChangeAspect="1"/>
          </p:cNvPicPr>
          <p:nvPr/>
        </p:nvPicPr>
        <p:blipFill>
          <a:blip r:embed="rId10"/>
          <a:stretch>
            <a:fillRect/>
          </a:stretch>
        </p:blipFill>
        <p:spPr>
          <a:xfrm>
            <a:off x="3061300" y="3865166"/>
            <a:ext cx="1130296" cy="1645920"/>
          </a:xfrm>
          <a:prstGeom prst="rect">
            <a:avLst/>
          </a:prstGeom>
          <a:effectLst>
            <a:outerShdw blurRad="50800" dist="38100" dir="2700000" algn="tl" rotWithShape="0">
              <a:prstClr val="black">
                <a:alpha val="40000"/>
              </a:prstClr>
            </a:outerShdw>
          </a:effectLst>
        </p:spPr>
      </p:pic>
      <p:pic>
        <p:nvPicPr>
          <p:cNvPr id="17" name="Picture 15" descr="Graphical user interface, text, application&#10;&#10;Description automatically generated">
            <a:extLst>
              <a:ext uri="{FF2B5EF4-FFF2-40B4-BE49-F238E27FC236}">
                <a16:creationId xmlns:a16="http://schemas.microsoft.com/office/drawing/2014/main" id="{9A809225-2265-5268-6CA3-D9490EEB1E8E}"/>
              </a:ext>
            </a:extLst>
          </p:cNvPr>
          <p:cNvPicPr>
            <a:picLocks noChangeAspect="1"/>
          </p:cNvPicPr>
          <p:nvPr/>
        </p:nvPicPr>
        <p:blipFill>
          <a:blip r:embed="rId11"/>
          <a:stretch>
            <a:fillRect/>
          </a:stretch>
        </p:blipFill>
        <p:spPr>
          <a:xfrm>
            <a:off x="4339411" y="3865166"/>
            <a:ext cx="1087587" cy="1645920"/>
          </a:xfrm>
          <a:prstGeom prst="rect">
            <a:avLst/>
          </a:prstGeom>
          <a:effectLst>
            <a:outerShdw blurRad="50800" dist="38100" dir="2700000" algn="tl" rotWithShape="0">
              <a:prstClr val="black">
                <a:alpha val="40000"/>
              </a:prstClr>
            </a:outerShdw>
          </a:effectLst>
        </p:spPr>
      </p:pic>
      <p:pic>
        <p:nvPicPr>
          <p:cNvPr id="18" name="Picture 16" descr="A picture containing application&#10;&#10;Description automatically generated">
            <a:extLst>
              <a:ext uri="{FF2B5EF4-FFF2-40B4-BE49-F238E27FC236}">
                <a16:creationId xmlns:a16="http://schemas.microsoft.com/office/drawing/2014/main" id="{EC30B217-3C29-8FBD-C609-EB15653E9ED7}"/>
              </a:ext>
            </a:extLst>
          </p:cNvPr>
          <p:cNvPicPr>
            <a:picLocks noChangeAspect="1"/>
          </p:cNvPicPr>
          <p:nvPr/>
        </p:nvPicPr>
        <p:blipFill>
          <a:blip r:embed="rId12"/>
          <a:stretch>
            <a:fillRect/>
          </a:stretch>
        </p:blipFill>
        <p:spPr>
          <a:xfrm>
            <a:off x="5597526" y="3871670"/>
            <a:ext cx="1125272" cy="1645920"/>
          </a:xfrm>
          <a:prstGeom prst="rect">
            <a:avLst/>
          </a:prstGeom>
        </p:spPr>
      </p:pic>
      <p:sp>
        <p:nvSpPr>
          <p:cNvPr id="19" name="TextBox 18">
            <a:extLst>
              <a:ext uri="{FF2B5EF4-FFF2-40B4-BE49-F238E27FC236}">
                <a16:creationId xmlns:a16="http://schemas.microsoft.com/office/drawing/2014/main" id="{6495930C-03AE-E2CF-6AD3-CA17EE2E2351}"/>
              </a:ext>
            </a:extLst>
          </p:cNvPr>
          <p:cNvSpPr txBox="1"/>
          <p:nvPr/>
        </p:nvSpPr>
        <p:spPr>
          <a:xfrm>
            <a:off x="2256890" y="3109687"/>
            <a:ext cx="84209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Egypt</a:t>
            </a:r>
          </a:p>
        </p:txBody>
      </p:sp>
      <p:sp>
        <p:nvSpPr>
          <p:cNvPr id="20" name="TextBox 19">
            <a:extLst>
              <a:ext uri="{FF2B5EF4-FFF2-40B4-BE49-F238E27FC236}">
                <a16:creationId xmlns:a16="http://schemas.microsoft.com/office/drawing/2014/main" id="{C41C7E96-1A48-0D30-BA08-9100FC63E3C7}"/>
              </a:ext>
            </a:extLst>
          </p:cNvPr>
          <p:cNvSpPr txBox="1"/>
          <p:nvPr/>
        </p:nvSpPr>
        <p:spPr>
          <a:xfrm>
            <a:off x="3712777" y="3108880"/>
            <a:ext cx="101938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Eswatini</a:t>
            </a:r>
          </a:p>
        </p:txBody>
      </p:sp>
      <p:sp>
        <p:nvSpPr>
          <p:cNvPr id="21" name="TextBox 20">
            <a:extLst>
              <a:ext uri="{FF2B5EF4-FFF2-40B4-BE49-F238E27FC236}">
                <a16:creationId xmlns:a16="http://schemas.microsoft.com/office/drawing/2014/main" id="{B47C818E-5889-C045-C90D-088CBCA27E30}"/>
              </a:ext>
            </a:extLst>
          </p:cNvPr>
          <p:cNvSpPr txBox="1"/>
          <p:nvPr/>
        </p:nvSpPr>
        <p:spPr>
          <a:xfrm>
            <a:off x="5358194" y="3108880"/>
            <a:ext cx="86425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Ghana</a:t>
            </a:r>
          </a:p>
        </p:txBody>
      </p:sp>
      <p:sp>
        <p:nvSpPr>
          <p:cNvPr id="22" name="TextBox 21">
            <a:extLst>
              <a:ext uri="{FF2B5EF4-FFF2-40B4-BE49-F238E27FC236}">
                <a16:creationId xmlns:a16="http://schemas.microsoft.com/office/drawing/2014/main" id="{36F4C157-38F1-EB8B-A060-F2DFE77443D0}"/>
              </a:ext>
            </a:extLst>
          </p:cNvPr>
          <p:cNvSpPr txBox="1"/>
          <p:nvPr/>
        </p:nvSpPr>
        <p:spPr>
          <a:xfrm>
            <a:off x="1702283" y="5573485"/>
            <a:ext cx="104841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Morocco</a:t>
            </a:r>
          </a:p>
        </p:txBody>
      </p:sp>
      <p:sp>
        <p:nvSpPr>
          <p:cNvPr id="23" name="TextBox 22">
            <a:extLst>
              <a:ext uri="{FF2B5EF4-FFF2-40B4-BE49-F238E27FC236}">
                <a16:creationId xmlns:a16="http://schemas.microsoft.com/office/drawing/2014/main" id="{754DC0E4-0D18-D7C5-6F6B-69E435B9C487}"/>
              </a:ext>
            </a:extLst>
          </p:cNvPr>
          <p:cNvSpPr txBox="1"/>
          <p:nvPr/>
        </p:nvSpPr>
        <p:spPr>
          <a:xfrm>
            <a:off x="2974805" y="5573485"/>
            <a:ext cx="92004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Nigeria</a:t>
            </a:r>
          </a:p>
        </p:txBody>
      </p:sp>
      <p:sp>
        <p:nvSpPr>
          <p:cNvPr id="24" name="TextBox 23">
            <a:extLst>
              <a:ext uri="{FF2B5EF4-FFF2-40B4-BE49-F238E27FC236}">
                <a16:creationId xmlns:a16="http://schemas.microsoft.com/office/drawing/2014/main" id="{F01E7C77-C5D9-9E6D-3824-3E85005FCFA3}"/>
              </a:ext>
            </a:extLst>
          </p:cNvPr>
          <p:cNvSpPr txBox="1"/>
          <p:nvPr/>
        </p:nvSpPr>
        <p:spPr>
          <a:xfrm>
            <a:off x="4092174" y="5573485"/>
            <a:ext cx="1259171"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South Africa</a:t>
            </a:r>
          </a:p>
        </p:txBody>
      </p:sp>
      <p:sp>
        <p:nvSpPr>
          <p:cNvPr id="25" name="TextBox 24">
            <a:extLst>
              <a:ext uri="{FF2B5EF4-FFF2-40B4-BE49-F238E27FC236}">
                <a16:creationId xmlns:a16="http://schemas.microsoft.com/office/drawing/2014/main" id="{402752F1-7022-AD8C-C48E-5664FF98872C}"/>
              </a:ext>
            </a:extLst>
          </p:cNvPr>
          <p:cNvSpPr txBox="1"/>
          <p:nvPr/>
        </p:nvSpPr>
        <p:spPr>
          <a:xfrm>
            <a:off x="5568694" y="5573485"/>
            <a:ext cx="1005626"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Tunisia</a:t>
            </a:r>
          </a:p>
        </p:txBody>
      </p:sp>
      <p:sp>
        <p:nvSpPr>
          <p:cNvPr id="26" name="TextBox 25">
            <a:extLst>
              <a:ext uri="{FF2B5EF4-FFF2-40B4-BE49-F238E27FC236}">
                <a16:creationId xmlns:a16="http://schemas.microsoft.com/office/drawing/2014/main" id="{DC551D6F-4DBC-62B8-7372-95744C07EBAF}"/>
              </a:ext>
            </a:extLst>
          </p:cNvPr>
          <p:cNvSpPr txBox="1"/>
          <p:nvPr/>
        </p:nvSpPr>
        <p:spPr>
          <a:xfrm>
            <a:off x="495099" y="3108880"/>
            <a:ext cx="113400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Botswana</a:t>
            </a:r>
          </a:p>
        </p:txBody>
      </p:sp>
      <p:sp>
        <p:nvSpPr>
          <p:cNvPr id="27" name="TextBox 26">
            <a:extLst>
              <a:ext uri="{FF2B5EF4-FFF2-40B4-BE49-F238E27FC236}">
                <a16:creationId xmlns:a16="http://schemas.microsoft.com/office/drawing/2014/main" id="{B8708D7B-CA4B-D37C-A098-A26BF325CB66}"/>
              </a:ext>
            </a:extLst>
          </p:cNvPr>
          <p:cNvSpPr txBox="1"/>
          <p:nvPr/>
        </p:nvSpPr>
        <p:spPr>
          <a:xfrm>
            <a:off x="290120" y="5573485"/>
            <a:ext cx="119819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Kenya</a:t>
            </a:r>
          </a:p>
        </p:txBody>
      </p:sp>
      <p:grpSp>
        <p:nvGrpSpPr>
          <p:cNvPr id="28" name="Group 27">
            <a:extLst>
              <a:ext uri="{FF2B5EF4-FFF2-40B4-BE49-F238E27FC236}">
                <a16:creationId xmlns:a16="http://schemas.microsoft.com/office/drawing/2014/main" id="{F2649203-AF90-3A70-FD9B-570F5BD2ED3B}"/>
              </a:ext>
            </a:extLst>
          </p:cNvPr>
          <p:cNvGrpSpPr/>
          <p:nvPr/>
        </p:nvGrpSpPr>
        <p:grpSpPr>
          <a:xfrm>
            <a:off x="2126965" y="1284515"/>
            <a:ext cx="1168435" cy="1643744"/>
            <a:chOff x="2065605" y="1284515"/>
            <a:chExt cx="1168435" cy="1643744"/>
          </a:xfrm>
        </p:grpSpPr>
        <p:sp>
          <p:nvSpPr>
            <p:cNvPr id="29" name="Rectangle 28">
              <a:extLst>
                <a:ext uri="{FF2B5EF4-FFF2-40B4-BE49-F238E27FC236}">
                  <a16:creationId xmlns:a16="http://schemas.microsoft.com/office/drawing/2014/main" id="{F8E596B1-A0F2-1444-C6D6-634AAEA69F92}"/>
                </a:ext>
              </a:extLst>
            </p:cNvPr>
            <p:cNvSpPr/>
            <p:nvPr/>
          </p:nvSpPr>
          <p:spPr>
            <a:xfrm>
              <a:off x="2065605" y="1284515"/>
              <a:ext cx="1168435" cy="1643744"/>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pic>
          <p:nvPicPr>
            <p:cNvPr id="30" name="Picture 27" descr="Text&#10;&#10;Description automatically generated">
              <a:extLst>
                <a:ext uri="{FF2B5EF4-FFF2-40B4-BE49-F238E27FC236}">
                  <a16:creationId xmlns:a16="http://schemas.microsoft.com/office/drawing/2014/main" id="{D2C62BE5-341A-F260-3AE2-EC5AF93C5F78}"/>
                </a:ext>
              </a:extLst>
            </p:cNvPr>
            <p:cNvPicPr>
              <a:picLocks noChangeAspect="1"/>
            </p:cNvPicPr>
            <p:nvPr/>
          </p:nvPicPr>
          <p:blipFill>
            <a:blip r:embed="rId13"/>
            <a:stretch>
              <a:fillRect/>
            </a:stretch>
          </p:blipFill>
          <p:spPr>
            <a:xfrm>
              <a:off x="2103966" y="1526993"/>
              <a:ext cx="1064242" cy="1269107"/>
            </a:xfrm>
            <a:prstGeom prst="rect">
              <a:avLst/>
            </a:prstGeom>
          </p:spPr>
        </p:pic>
      </p:grpSp>
      <p:pic>
        <p:nvPicPr>
          <p:cNvPr id="31" name="Picture 3" descr="Graphical user interface, text, application&#10;&#10;Description automatically generated">
            <a:extLst>
              <a:ext uri="{FF2B5EF4-FFF2-40B4-BE49-F238E27FC236}">
                <a16:creationId xmlns:a16="http://schemas.microsoft.com/office/drawing/2014/main" id="{C5105FCF-8525-6682-6147-D2329E0984F0}"/>
              </a:ext>
            </a:extLst>
          </p:cNvPr>
          <p:cNvPicPr>
            <a:picLocks noChangeAspect="1"/>
          </p:cNvPicPr>
          <p:nvPr/>
        </p:nvPicPr>
        <p:blipFill>
          <a:blip r:embed="rId14"/>
          <a:stretch>
            <a:fillRect/>
          </a:stretch>
        </p:blipFill>
        <p:spPr>
          <a:xfrm>
            <a:off x="10279657" y="1238262"/>
            <a:ext cx="1407907" cy="2103120"/>
          </a:xfrm>
          <a:prstGeom prst="rect">
            <a:avLst/>
          </a:prstGeom>
          <a:effectLst>
            <a:outerShdw blurRad="50800" dist="38100" dir="2700000" algn="tl" rotWithShape="0">
              <a:prstClr val="black">
                <a:alpha val="40000"/>
              </a:prstClr>
            </a:outerShdw>
          </a:effectLst>
        </p:spPr>
      </p:pic>
      <p:pic>
        <p:nvPicPr>
          <p:cNvPr id="32" name="Picture 4">
            <a:extLst>
              <a:ext uri="{FF2B5EF4-FFF2-40B4-BE49-F238E27FC236}">
                <a16:creationId xmlns:a16="http://schemas.microsoft.com/office/drawing/2014/main" id="{5093A58C-8E5E-D3F9-92F5-8B582FEBF646}"/>
              </a:ext>
            </a:extLst>
          </p:cNvPr>
          <p:cNvPicPr>
            <a:picLocks noChangeAspect="1"/>
          </p:cNvPicPr>
          <p:nvPr/>
        </p:nvPicPr>
        <p:blipFill>
          <a:blip r:embed="rId15"/>
          <a:stretch>
            <a:fillRect/>
          </a:stretch>
        </p:blipFill>
        <p:spPr>
          <a:xfrm>
            <a:off x="7176602" y="4180936"/>
            <a:ext cx="2375808" cy="1482904"/>
          </a:xfrm>
          <a:prstGeom prst="rect">
            <a:avLst/>
          </a:prstGeom>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B7552802-BCF9-E374-58BC-8522C7A9CD23}"/>
              </a:ext>
            </a:extLst>
          </p:cNvPr>
          <p:cNvSpPr txBox="1"/>
          <p:nvPr/>
        </p:nvSpPr>
        <p:spPr>
          <a:xfrm>
            <a:off x="9801928" y="3461028"/>
            <a:ext cx="249623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a:cs typeface="Arial"/>
                <a:sym typeface="Arial"/>
              </a:rPr>
              <a:t>West African Power Pool</a:t>
            </a:r>
          </a:p>
        </p:txBody>
      </p:sp>
      <p:sp>
        <p:nvSpPr>
          <p:cNvPr id="34" name="TextBox 33">
            <a:extLst>
              <a:ext uri="{FF2B5EF4-FFF2-40B4-BE49-F238E27FC236}">
                <a16:creationId xmlns:a16="http://schemas.microsoft.com/office/drawing/2014/main" id="{A8AC88B8-A78E-AE64-86C4-DD537B2BAA25}"/>
              </a:ext>
            </a:extLst>
          </p:cNvPr>
          <p:cNvSpPr txBox="1"/>
          <p:nvPr/>
        </p:nvSpPr>
        <p:spPr>
          <a:xfrm>
            <a:off x="7631421" y="5953442"/>
            <a:ext cx="123385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Med- TSO</a:t>
            </a:r>
          </a:p>
        </p:txBody>
      </p:sp>
      <p:pic>
        <p:nvPicPr>
          <p:cNvPr id="35" name="Picture 11" descr="Map&#10;&#10;Description automatically generated">
            <a:extLst>
              <a:ext uri="{FF2B5EF4-FFF2-40B4-BE49-F238E27FC236}">
                <a16:creationId xmlns:a16="http://schemas.microsoft.com/office/drawing/2014/main" id="{3EEE439A-6B99-20BA-4DD7-19C191B23FE7}"/>
              </a:ext>
            </a:extLst>
          </p:cNvPr>
          <p:cNvPicPr>
            <a:picLocks noChangeAspect="1"/>
          </p:cNvPicPr>
          <p:nvPr/>
        </p:nvPicPr>
        <p:blipFill>
          <a:blip r:embed="rId16"/>
          <a:stretch>
            <a:fillRect/>
          </a:stretch>
        </p:blipFill>
        <p:spPr>
          <a:xfrm>
            <a:off x="10080491" y="3871670"/>
            <a:ext cx="1806241" cy="2008930"/>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37D1BB6F-EECD-67E8-AB76-DA3018AA1967}"/>
              </a:ext>
            </a:extLst>
          </p:cNvPr>
          <p:cNvSpPr txBox="1"/>
          <p:nvPr/>
        </p:nvSpPr>
        <p:spPr>
          <a:xfrm>
            <a:off x="9683228" y="5907189"/>
            <a:ext cx="261493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srgbClr val="FFFFFF"/>
                </a:solidFill>
                <a:effectLst/>
                <a:uLnTx/>
                <a:uFillTx/>
                <a:latin typeface="Calibri"/>
                <a:cs typeface="Arial"/>
                <a:sym typeface="Arial"/>
              </a:rPr>
              <a:t>Southern Africa Power Pool</a:t>
            </a:r>
          </a:p>
        </p:txBody>
      </p:sp>
      <p:pic>
        <p:nvPicPr>
          <p:cNvPr id="37" name="Picture 2">
            <a:extLst>
              <a:ext uri="{FF2B5EF4-FFF2-40B4-BE49-F238E27FC236}">
                <a16:creationId xmlns:a16="http://schemas.microsoft.com/office/drawing/2014/main" id="{5CB69634-1CCB-7924-0F38-78593BDD28A1}"/>
              </a:ext>
            </a:extLst>
          </p:cNvPr>
          <p:cNvPicPr>
            <a:picLocks noChangeAspect="1"/>
          </p:cNvPicPr>
          <p:nvPr/>
        </p:nvPicPr>
        <p:blipFill>
          <a:blip r:embed="rId17"/>
          <a:stretch>
            <a:fillRect/>
          </a:stretch>
        </p:blipFill>
        <p:spPr>
          <a:xfrm>
            <a:off x="7492968" y="1284515"/>
            <a:ext cx="1556197" cy="2103120"/>
          </a:xfrm>
          <a:prstGeom prst="rect">
            <a:avLst/>
          </a:prstGeom>
          <a:effectLst>
            <a:outerShdw blurRad="50800" dist="38100" dir="2700000" algn="tl" rotWithShape="0">
              <a:prstClr val="black">
                <a:alpha val="40000"/>
              </a:prstClr>
            </a:outerShdw>
          </a:effectLst>
        </p:spPr>
      </p:pic>
      <p:sp>
        <p:nvSpPr>
          <p:cNvPr id="38" name="TextBox 37">
            <a:extLst>
              <a:ext uri="{FF2B5EF4-FFF2-40B4-BE49-F238E27FC236}">
                <a16:creationId xmlns:a16="http://schemas.microsoft.com/office/drawing/2014/main" id="{C2DD8BCD-211A-3D3C-B333-C3B162E77095}"/>
              </a:ext>
            </a:extLst>
          </p:cNvPr>
          <p:cNvSpPr txBox="1"/>
          <p:nvPr/>
        </p:nvSpPr>
        <p:spPr>
          <a:xfrm>
            <a:off x="7093281" y="3507281"/>
            <a:ext cx="235639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rPr>
              <a:t>East African Power Pool</a:t>
            </a:r>
            <a:endParaRPr kumimoji="0" lang="en-US" sz="1600" b="0" i="0" u="none" strike="noStrike" kern="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sym typeface="Arial"/>
            </a:endParaRPr>
          </a:p>
        </p:txBody>
      </p:sp>
      <p:cxnSp>
        <p:nvCxnSpPr>
          <p:cNvPr id="41" name="Straight Connector 40">
            <a:extLst>
              <a:ext uri="{FF2B5EF4-FFF2-40B4-BE49-F238E27FC236}">
                <a16:creationId xmlns:a16="http://schemas.microsoft.com/office/drawing/2014/main" id="{1F683F5C-81A2-CF0C-9720-8381BBAD811C}"/>
              </a:ext>
            </a:extLst>
          </p:cNvPr>
          <p:cNvCxnSpPr/>
          <p:nvPr/>
        </p:nvCxnSpPr>
        <p:spPr>
          <a:xfrm>
            <a:off x="6996961" y="1087395"/>
            <a:ext cx="0" cy="5362832"/>
          </a:xfrm>
          <a:prstGeom prst="line">
            <a:avLst/>
          </a:prstGeom>
          <a:ln w="19050"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7528946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5C7C784-55ED-AB42-8010-5B62EDB0EA34}"/>
              </a:ext>
            </a:extLst>
          </p:cNvPr>
          <p:cNvSpPr/>
          <p:nvPr/>
        </p:nvSpPr>
        <p:spPr>
          <a:xfrm>
            <a:off x="-43017" y="1483023"/>
            <a:ext cx="12192000" cy="369333"/>
          </a:xfrm>
          <a:prstGeom prst="rect">
            <a:avLst/>
          </a:prstGeom>
          <a:solidFill>
            <a:srgbClr val="DD75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998E5E9-6F13-0C4E-9E6A-10681B7E1984}"/>
              </a:ext>
            </a:extLst>
          </p:cNvPr>
          <p:cNvSpPr txBox="1">
            <a:spLocks/>
          </p:cNvSpPr>
          <p:nvPr/>
        </p:nvSpPr>
        <p:spPr bwMode="auto">
          <a:xfrm>
            <a:off x="1369397" y="408706"/>
            <a:ext cx="7901113"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eaLnBrk="1" fontAlgn="base" hangingPunct="1">
              <a:spcBef>
                <a:spcPct val="0"/>
              </a:spcBef>
              <a:spcAft>
                <a:spcPct val="0"/>
              </a:spcAft>
              <a:defRPr sz="2700" b="1">
                <a:solidFill>
                  <a:srgbClr val="E10019"/>
                </a:solidFill>
                <a:latin typeface="Arial" charset="0"/>
                <a:cs typeface="Arial" charset="0"/>
              </a:defRPr>
            </a:lvl6pPr>
            <a:lvl7pPr marL="1023523" algn="l" rtl="0" eaLnBrk="1" fontAlgn="base" hangingPunct="1">
              <a:spcBef>
                <a:spcPct val="0"/>
              </a:spcBef>
              <a:spcAft>
                <a:spcPct val="0"/>
              </a:spcAft>
              <a:defRPr sz="2700" b="1">
                <a:solidFill>
                  <a:srgbClr val="E10019"/>
                </a:solidFill>
                <a:latin typeface="Arial" charset="0"/>
                <a:cs typeface="Arial" charset="0"/>
              </a:defRPr>
            </a:lvl7pPr>
            <a:lvl8pPr marL="1535285" algn="l" rtl="0" eaLnBrk="1" fontAlgn="base" hangingPunct="1">
              <a:spcBef>
                <a:spcPct val="0"/>
              </a:spcBef>
              <a:spcAft>
                <a:spcPct val="0"/>
              </a:spcAft>
              <a:defRPr sz="2700" b="1">
                <a:solidFill>
                  <a:srgbClr val="E10019"/>
                </a:solidFill>
                <a:latin typeface="Arial" charset="0"/>
                <a:cs typeface="Arial" charset="0"/>
              </a:defRPr>
            </a:lvl8pPr>
            <a:lvl9pPr marL="2047046" algn="l" rtl="0" eaLnBrk="1" fontAlgn="base" hangingPunct="1">
              <a:spcBef>
                <a:spcPct val="0"/>
              </a:spcBef>
              <a:spcAft>
                <a:spcPct val="0"/>
              </a:spcAft>
              <a:defRPr sz="2700" b="1">
                <a:solidFill>
                  <a:srgbClr val="E10019"/>
                </a:solidFill>
                <a:latin typeface="Arial" charset="0"/>
                <a:cs typeface="Arial" charset="0"/>
              </a:defRPr>
            </a:lvl9pPr>
          </a:lstStyle>
          <a:p>
            <a:r>
              <a:rPr lang="en-US" sz="2400">
                <a:solidFill>
                  <a:srgbClr val="6E9636"/>
                </a:solidFill>
                <a:latin typeface="Calibri" panose="020F0502020204030204" pitchFamily="34" charset="0"/>
                <a:ea typeface="Calibri" panose="020F0502020204030204" pitchFamily="34" charset="0"/>
                <a:cs typeface="Calibri" panose="020F0502020204030204" pitchFamily="34" charset="0"/>
              </a:rPr>
              <a:t> </a:t>
            </a:r>
            <a:r>
              <a:rPr lang="en-US" sz="2400">
                <a:solidFill>
                  <a:srgbClr val="DD7538"/>
                </a:solidFill>
                <a:latin typeface="Calibri" panose="020F0502020204030204" pitchFamily="34" charset="0"/>
                <a:ea typeface="Calibri" panose="020F0502020204030204" pitchFamily="34" charset="0"/>
                <a:cs typeface="Calibri" panose="020F0502020204030204" pitchFamily="34" charset="0"/>
              </a:rPr>
              <a:t>STRENGTHENING INSTITUTIONAL OWNERSHIP</a:t>
            </a:r>
            <a:endParaRPr lang="en-GB" sz="2400">
              <a:solidFill>
                <a:srgbClr val="DD7538"/>
              </a:solidFill>
              <a:latin typeface="Calibri" panose="020F0502020204030204" pitchFamily="34" charset="0"/>
              <a:ea typeface="Calibri" panose="020F050202020403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7E514A52-4527-364B-9B61-754151F36BC5}"/>
              </a:ext>
            </a:extLst>
          </p:cNvPr>
          <p:cNvSpPr/>
          <p:nvPr/>
        </p:nvSpPr>
        <p:spPr>
          <a:xfrm>
            <a:off x="566492" y="1493734"/>
            <a:ext cx="6513450" cy="400110"/>
          </a:xfrm>
          <a:prstGeom prst="rect">
            <a:avLst/>
          </a:prstGeom>
        </p:spPr>
        <p:txBody>
          <a:bodyPr wrap="none" lIns="91440" tIns="45720" rIns="91440" bIns="45720" anchor="t">
            <a:spAutoFit/>
          </a:bodyPr>
          <a:lstStyle/>
          <a:p>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Building the Right Type of Scenario Capacity in Government</a:t>
            </a:r>
          </a:p>
        </p:txBody>
      </p:sp>
      <p:grpSp>
        <p:nvGrpSpPr>
          <p:cNvPr id="4" name="Group 3">
            <a:extLst>
              <a:ext uri="{FF2B5EF4-FFF2-40B4-BE49-F238E27FC236}">
                <a16:creationId xmlns:a16="http://schemas.microsoft.com/office/drawing/2014/main" id="{E7AE0D4B-59BE-C4E4-63E9-25D23D554877}"/>
              </a:ext>
            </a:extLst>
          </p:cNvPr>
          <p:cNvGrpSpPr/>
          <p:nvPr/>
        </p:nvGrpSpPr>
        <p:grpSpPr>
          <a:xfrm>
            <a:off x="315709" y="164958"/>
            <a:ext cx="795338" cy="795338"/>
            <a:chOff x="92529" y="3698687"/>
            <a:chExt cx="795338" cy="795338"/>
          </a:xfrm>
        </p:grpSpPr>
        <p:sp>
          <p:nvSpPr>
            <p:cNvPr id="14" name="AutoShape 18">
              <a:extLst>
                <a:ext uri="{FF2B5EF4-FFF2-40B4-BE49-F238E27FC236}">
                  <a16:creationId xmlns:a16="http://schemas.microsoft.com/office/drawing/2014/main" id="{BEE15EFF-0644-1BF7-182B-C613745B2205}"/>
                </a:ext>
              </a:extLst>
            </p:cNvPr>
            <p:cNvSpPr>
              <a:spLocks noChangeAspect="1" noChangeArrowheads="1" noTextEdit="1"/>
            </p:cNvSpPr>
            <p:nvPr/>
          </p:nvSpPr>
          <p:spPr bwMode="auto">
            <a:xfrm>
              <a:off x="92529" y="3698687"/>
              <a:ext cx="787400"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20">
              <a:extLst>
                <a:ext uri="{FF2B5EF4-FFF2-40B4-BE49-F238E27FC236}">
                  <a16:creationId xmlns:a16="http://schemas.microsoft.com/office/drawing/2014/main" id="{C5826812-06CA-392F-B832-FC9CA952247F}"/>
                </a:ext>
              </a:extLst>
            </p:cNvPr>
            <p:cNvSpPr>
              <a:spLocks/>
            </p:cNvSpPr>
            <p:nvPr/>
          </p:nvSpPr>
          <p:spPr bwMode="auto">
            <a:xfrm>
              <a:off x="92529" y="3698687"/>
              <a:ext cx="795338" cy="795338"/>
            </a:xfrm>
            <a:custGeom>
              <a:avLst/>
              <a:gdLst>
                <a:gd name="T0" fmla="*/ 1096 w 1096"/>
                <a:gd name="T1" fmla="*/ 547 h 1095"/>
                <a:gd name="T2" fmla="*/ 1096 w 1096"/>
                <a:gd name="T3" fmla="*/ 547 h 1095"/>
                <a:gd name="T4" fmla="*/ 548 w 1096"/>
                <a:gd name="T5" fmla="*/ 1095 h 1095"/>
                <a:gd name="T6" fmla="*/ 0 w 1096"/>
                <a:gd name="T7" fmla="*/ 547 h 1095"/>
                <a:gd name="T8" fmla="*/ 548 w 1096"/>
                <a:gd name="T9" fmla="*/ 0 h 1095"/>
                <a:gd name="T10" fmla="*/ 1096 w 1096"/>
                <a:gd name="T11" fmla="*/ 547 h 1095"/>
              </a:gdLst>
              <a:ahLst/>
              <a:cxnLst>
                <a:cxn ang="0">
                  <a:pos x="T0" y="T1"/>
                </a:cxn>
                <a:cxn ang="0">
                  <a:pos x="T2" y="T3"/>
                </a:cxn>
                <a:cxn ang="0">
                  <a:pos x="T4" y="T5"/>
                </a:cxn>
                <a:cxn ang="0">
                  <a:pos x="T6" y="T7"/>
                </a:cxn>
                <a:cxn ang="0">
                  <a:pos x="T8" y="T9"/>
                </a:cxn>
                <a:cxn ang="0">
                  <a:pos x="T10" y="T11"/>
                </a:cxn>
              </a:cxnLst>
              <a:rect l="0" t="0" r="r" b="b"/>
              <a:pathLst>
                <a:path w="1096" h="1095">
                  <a:moveTo>
                    <a:pt x="1096" y="547"/>
                  </a:moveTo>
                  <a:lnTo>
                    <a:pt x="1096" y="547"/>
                  </a:lnTo>
                  <a:cubicBezTo>
                    <a:pt x="1096" y="850"/>
                    <a:pt x="850" y="1095"/>
                    <a:pt x="548" y="1095"/>
                  </a:cubicBezTo>
                  <a:cubicBezTo>
                    <a:pt x="245" y="1095"/>
                    <a:pt x="0" y="850"/>
                    <a:pt x="0" y="547"/>
                  </a:cubicBezTo>
                  <a:cubicBezTo>
                    <a:pt x="0" y="245"/>
                    <a:pt x="245" y="0"/>
                    <a:pt x="548" y="0"/>
                  </a:cubicBezTo>
                  <a:cubicBezTo>
                    <a:pt x="850" y="0"/>
                    <a:pt x="1096" y="245"/>
                    <a:pt x="1096" y="547"/>
                  </a:cubicBezTo>
                  <a:close/>
                </a:path>
              </a:pathLst>
            </a:custGeom>
            <a:solidFill>
              <a:srgbClr val="DD7538"/>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21">
              <a:extLst>
                <a:ext uri="{FF2B5EF4-FFF2-40B4-BE49-F238E27FC236}">
                  <a16:creationId xmlns:a16="http://schemas.microsoft.com/office/drawing/2014/main" id="{603E61DF-4862-74BE-5CFE-0BEE5A7E5884}"/>
                </a:ext>
              </a:extLst>
            </p:cNvPr>
            <p:cNvSpPr>
              <a:spLocks noEditPoints="1"/>
            </p:cNvSpPr>
            <p:nvPr/>
          </p:nvSpPr>
          <p:spPr bwMode="auto">
            <a:xfrm>
              <a:off x="152960" y="4101164"/>
              <a:ext cx="319088" cy="336550"/>
            </a:xfrm>
            <a:custGeom>
              <a:avLst/>
              <a:gdLst>
                <a:gd name="T0" fmla="*/ 195 w 439"/>
                <a:gd name="T1" fmla="*/ 384 h 463"/>
                <a:gd name="T2" fmla="*/ 290 w 439"/>
                <a:gd name="T3" fmla="*/ 350 h 463"/>
                <a:gd name="T4" fmla="*/ 426 w 439"/>
                <a:gd name="T5" fmla="*/ 165 h 463"/>
                <a:gd name="T6" fmla="*/ 422 w 439"/>
                <a:gd name="T7" fmla="*/ 145 h 463"/>
                <a:gd name="T8" fmla="*/ 418 w 439"/>
                <a:gd name="T9" fmla="*/ 91 h 463"/>
                <a:gd name="T10" fmla="*/ 408 w 439"/>
                <a:gd name="T11" fmla="*/ 83 h 463"/>
                <a:gd name="T12" fmla="*/ 399 w 439"/>
                <a:gd name="T13" fmla="*/ 23 h 463"/>
                <a:gd name="T14" fmla="*/ 373 w 439"/>
                <a:gd name="T15" fmla="*/ 13 h 463"/>
                <a:gd name="T16" fmla="*/ 339 w 439"/>
                <a:gd name="T17" fmla="*/ 33 h 463"/>
                <a:gd name="T18" fmla="*/ 323 w 439"/>
                <a:gd name="T19" fmla="*/ 14 h 463"/>
                <a:gd name="T20" fmla="*/ 182 w 439"/>
                <a:gd name="T21" fmla="*/ 105 h 463"/>
                <a:gd name="T22" fmla="*/ 119 w 439"/>
                <a:gd name="T23" fmla="*/ 31 h 463"/>
                <a:gd name="T24" fmla="*/ 92 w 439"/>
                <a:gd name="T25" fmla="*/ 135 h 463"/>
                <a:gd name="T26" fmla="*/ 80 w 439"/>
                <a:gd name="T27" fmla="*/ 269 h 463"/>
                <a:gd name="T28" fmla="*/ 0 w 439"/>
                <a:gd name="T29" fmla="*/ 286 h 463"/>
                <a:gd name="T30" fmla="*/ 48 w 439"/>
                <a:gd name="T31" fmla="*/ 269 h 463"/>
                <a:gd name="T32" fmla="*/ 163 w 439"/>
                <a:gd name="T33" fmla="*/ 451 h 463"/>
                <a:gd name="T34" fmla="*/ 228 w 439"/>
                <a:gd name="T35" fmla="*/ 418 h 463"/>
                <a:gd name="T36" fmla="*/ 95 w 439"/>
                <a:gd name="T37" fmla="*/ 240 h 463"/>
                <a:gd name="T38" fmla="*/ 114 w 439"/>
                <a:gd name="T39" fmla="*/ 140 h 463"/>
                <a:gd name="T40" fmla="*/ 134 w 439"/>
                <a:gd name="T41" fmla="*/ 47 h 463"/>
                <a:gd name="T42" fmla="*/ 144 w 439"/>
                <a:gd name="T43" fmla="*/ 45 h 463"/>
                <a:gd name="T44" fmla="*/ 161 w 439"/>
                <a:gd name="T45" fmla="*/ 157 h 463"/>
                <a:gd name="T46" fmla="*/ 308 w 439"/>
                <a:gd name="T47" fmla="*/ 29 h 463"/>
                <a:gd name="T48" fmla="*/ 317 w 439"/>
                <a:gd name="T49" fmla="*/ 55 h 463"/>
                <a:gd name="T50" fmla="*/ 259 w 439"/>
                <a:gd name="T51" fmla="*/ 145 h 463"/>
                <a:gd name="T52" fmla="*/ 333 w 439"/>
                <a:gd name="T53" fmla="*/ 70 h 463"/>
                <a:gd name="T54" fmla="*/ 373 w 439"/>
                <a:gd name="T55" fmla="*/ 35 h 463"/>
                <a:gd name="T56" fmla="*/ 383 w 439"/>
                <a:gd name="T57" fmla="*/ 39 h 463"/>
                <a:gd name="T58" fmla="*/ 392 w 439"/>
                <a:gd name="T59" fmla="*/ 68 h 463"/>
                <a:gd name="T60" fmla="*/ 367 w 439"/>
                <a:gd name="T61" fmla="*/ 91 h 463"/>
                <a:gd name="T62" fmla="*/ 296 w 439"/>
                <a:gd name="T63" fmla="*/ 195 h 463"/>
                <a:gd name="T64" fmla="*/ 392 w 439"/>
                <a:gd name="T65" fmla="*/ 103 h 463"/>
                <a:gd name="T66" fmla="*/ 402 w 439"/>
                <a:gd name="T67" fmla="*/ 107 h 463"/>
                <a:gd name="T68" fmla="*/ 406 w 439"/>
                <a:gd name="T69" fmla="*/ 129 h 463"/>
                <a:gd name="T70" fmla="*/ 332 w 439"/>
                <a:gd name="T71" fmla="*/ 239 h 463"/>
                <a:gd name="T72" fmla="*/ 400 w 439"/>
                <a:gd name="T73" fmla="*/ 176 h 463"/>
                <a:gd name="T74" fmla="*/ 410 w 439"/>
                <a:gd name="T75" fmla="*/ 199 h 463"/>
                <a:gd name="T76" fmla="*/ 164 w 439"/>
                <a:gd name="T77" fmla="*/ 349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9" h="463">
                  <a:moveTo>
                    <a:pt x="195" y="384"/>
                  </a:moveTo>
                  <a:lnTo>
                    <a:pt x="195" y="384"/>
                  </a:lnTo>
                  <a:cubicBezTo>
                    <a:pt x="200" y="385"/>
                    <a:pt x="205" y="385"/>
                    <a:pt x="210" y="385"/>
                  </a:cubicBezTo>
                  <a:cubicBezTo>
                    <a:pt x="242" y="385"/>
                    <a:pt x="271" y="370"/>
                    <a:pt x="290" y="350"/>
                  </a:cubicBezTo>
                  <a:lnTo>
                    <a:pt x="425" y="215"/>
                  </a:lnTo>
                  <a:cubicBezTo>
                    <a:pt x="439" y="201"/>
                    <a:pt x="439" y="179"/>
                    <a:pt x="426" y="165"/>
                  </a:cubicBezTo>
                  <a:cubicBezTo>
                    <a:pt x="421" y="161"/>
                    <a:pt x="416" y="158"/>
                    <a:pt x="411" y="156"/>
                  </a:cubicBezTo>
                  <a:lnTo>
                    <a:pt x="422" y="145"/>
                  </a:lnTo>
                  <a:cubicBezTo>
                    <a:pt x="435" y="131"/>
                    <a:pt x="435" y="108"/>
                    <a:pt x="421" y="95"/>
                  </a:cubicBezTo>
                  <a:lnTo>
                    <a:pt x="418" y="91"/>
                  </a:lnTo>
                  <a:cubicBezTo>
                    <a:pt x="415" y="88"/>
                    <a:pt x="411" y="86"/>
                    <a:pt x="407" y="84"/>
                  </a:cubicBezTo>
                  <a:lnTo>
                    <a:pt x="408" y="83"/>
                  </a:lnTo>
                  <a:cubicBezTo>
                    <a:pt x="422" y="69"/>
                    <a:pt x="422" y="47"/>
                    <a:pt x="408" y="33"/>
                  </a:cubicBezTo>
                  <a:lnTo>
                    <a:pt x="399" y="23"/>
                  </a:lnTo>
                  <a:cubicBezTo>
                    <a:pt x="392" y="17"/>
                    <a:pt x="383" y="13"/>
                    <a:pt x="373" y="13"/>
                  </a:cubicBezTo>
                  <a:lnTo>
                    <a:pt x="373" y="13"/>
                  </a:lnTo>
                  <a:cubicBezTo>
                    <a:pt x="364" y="13"/>
                    <a:pt x="355" y="17"/>
                    <a:pt x="348" y="24"/>
                  </a:cubicBezTo>
                  <a:lnTo>
                    <a:pt x="339" y="33"/>
                  </a:lnTo>
                  <a:cubicBezTo>
                    <a:pt x="337" y="29"/>
                    <a:pt x="335" y="25"/>
                    <a:pt x="331" y="22"/>
                  </a:cubicBezTo>
                  <a:lnTo>
                    <a:pt x="323" y="14"/>
                  </a:lnTo>
                  <a:cubicBezTo>
                    <a:pt x="309" y="0"/>
                    <a:pt x="287" y="0"/>
                    <a:pt x="273" y="14"/>
                  </a:cubicBezTo>
                  <a:lnTo>
                    <a:pt x="182" y="105"/>
                  </a:lnTo>
                  <a:cubicBezTo>
                    <a:pt x="180" y="71"/>
                    <a:pt x="172" y="28"/>
                    <a:pt x="148" y="24"/>
                  </a:cubicBezTo>
                  <a:cubicBezTo>
                    <a:pt x="134" y="21"/>
                    <a:pt x="125" y="26"/>
                    <a:pt x="119" y="31"/>
                  </a:cubicBezTo>
                  <a:cubicBezTo>
                    <a:pt x="106" y="43"/>
                    <a:pt x="104" y="65"/>
                    <a:pt x="105" y="75"/>
                  </a:cubicBezTo>
                  <a:cubicBezTo>
                    <a:pt x="105" y="81"/>
                    <a:pt x="98" y="111"/>
                    <a:pt x="92" y="135"/>
                  </a:cubicBezTo>
                  <a:cubicBezTo>
                    <a:pt x="79" y="192"/>
                    <a:pt x="71" y="230"/>
                    <a:pt x="74" y="244"/>
                  </a:cubicBezTo>
                  <a:cubicBezTo>
                    <a:pt x="75" y="250"/>
                    <a:pt x="76" y="258"/>
                    <a:pt x="80" y="269"/>
                  </a:cubicBezTo>
                  <a:lnTo>
                    <a:pt x="48" y="238"/>
                  </a:lnTo>
                  <a:lnTo>
                    <a:pt x="0" y="286"/>
                  </a:lnTo>
                  <a:cubicBezTo>
                    <a:pt x="4" y="292"/>
                    <a:pt x="8" y="299"/>
                    <a:pt x="12" y="305"/>
                  </a:cubicBezTo>
                  <a:lnTo>
                    <a:pt x="48" y="269"/>
                  </a:lnTo>
                  <a:lnTo>
                    <a:pt x="197" y="418"/>
                  </a:lnTo>
                  <a:lnTo>
                    <a:pt x="163" y="451"/>
                  </a:lnTo>
                  <a:cubicBezTo>
                    <a:pt x="170" y="455"/>
                    <a:pt x="176" y="459"/>
                    <a:pt x="182" y="463"/>
                  </a:cubicBezTo>
                  <a:lnTo>
                    <a:pt x="228" y="418"/>
                  </a:lnTo>
                  <a:lnTo>
                    <a:pt x="195" y="384"/>
                  </a:lnTo>
                  <a:close/>
                  <a:moveTo>
                    <a:pt x="95" y="240"/>
                  </a:moveTo>
                  <a:lnTo>
                    <a:pt x="95" y="240"/>
                  </a:lnTo>
                  <a:cubicBezTo>
                    <a:pt x="93" y="230"/>
                    <a:pt x="106" y="173"/>
                    <a:pt x="114" y="140"/>
                  </a:cubicBezTo>
                  <a:cubicBezTo>
                    <a:pt x="124" y="97"/>
                    <a:pt x="127" y="80"/>
                    <a:pt x="127" y="73"/>
                  </a:cubicBezTo>
                  <a:cubicBezTo>
                    <a:pt x="126" y="65"/>
                    <a:pt x="129" y="52"/>
                    <a:pt x="134" y="47"/>
                  </a:cubicBezTo>
                  <a:cubicBezTo>
                    <a:pt x="135" y="46"/>
                    <a:pt x="137" y="45"/>
                    <a:pt x="141" y="45"/>
                  </a:cubicBezTo>
                  <a:cubicBezTo>
                    <a:pt x="142" y="45"/>
                    <a:pt x="143" y="45"/>
                    <a:pt x="144" y="45"/>
                  </a:cubicBezTo>
                  <a:cubicBezTo>
                    <a:pt x="152" y="47"/>
                    <a:pt x="161" y="85"/>
                    <a:pt x="161" y="130"/>
                  </a:cubicBezTo>
                  <a:lnTo>
                    <a:pt x="161" y="157"/>
                  </a:lnTo>
                  <a:lnTo>
                    <a:pt x="289" y="29"/>
                  </a:lnTo>
                  <a:cubicBezTo>
                    <a:pt x="294" y="24"/>
                    <a:pt x="302" y="24"/>
                    <a:pt x="308" y="29"/>
                  </a:cubicBezTo>
                  <a:lnTo>
                    <a:pt x="316" y="37"/>
                  </a:lnTo>
                  <a:cubicBezTo>
                    <a:pt x="320" y="42"/>
                    <a:pt x="321" y="50"/>
                    <a:pt x="317" y="55"/>
                  </a:cubicBezTo>
                  <a:lnTo>
                    <a:pt x="243" y="129"/>
                  </a:lnTo>
                  <a:lnTo>
                    <a:pt x="259" y="145"/>
                  </a:lnTo>
                  <a:lnTo>
                    <a:pt x="331" y="72"/>
                  </a:lnTo>
                  <a:cubicBezTo>
                    <a:pt x="332" y="71"/>
                    <a:pt x="333" y="71"/>
                    <a:pt x="333" y="70"/>
                  </a:cubicBezTo>
                  <a:lnTo>
                    <a:pt x="364" y="39"/>
                  </a:lnTo>
                  <a:cubicBezTo>
                    <a:pt x="366" y="37"/>
                    <a:pt x="370" y="35"/>
                    <a:pt x="373" y="35"/>
                  </a:cubicBezTo>
                  <a:lnTo>
                    <a:pt x="373" y="35"/>
                  </a:lnTo>
                  <a:cubicBezTo>
                    <a:pt x="377" y="35"/>
                    <a:pt x="380" y="37"/>
                    <a:pt x="383" y="39"/>
                  </a:cubicBezTo>
                  <a:lnTo>
                    <a:pt x="392" y="49"/>
                  </a:lnTo>
                  <a:cubicBezTo>
                    <a:pt x="398" y="54"/>
                    <a:pt x="398" y="62"/>
                    <a:pt x="392" y="68"/>
                  </a:cubicBezTo>
                  <a:lnTo>
                    <a:pt x="375" y="85"/>
                  </a:lnTo>
                  <a:cubicBezTo>
                    <a:pt x="372" y="87"/>
                    <a:pt x="369" y="89"/>
                    <a:pt x="367" y="91"/>
                  </a:cubicBezTo>
                  <a:lnTo>
                    <a:pt x="280" y="180"/>
                  </a:lnTo>
                  <a:lnTo>
                    <a:pt x="296" y="195"/>
                  </a:lnTo>
                  <a:lnTo>
                    <a:pt x="388" y="104"/>
                  </a:lnTo>
                  <a:cubicBezTo>
                    <a:pt x="389" y="103"/>
                    <a:pt x="391" y="103"/>
                    <a:pt x="392" y="103"/>
                  </a:cubicBezTo>
                  <a:lnTo>
                    <a:pt x="392" y="103"/>
                  </a:lnTo>
                  <a:cubicBezTo>
                    <a:pt x="396" y="103"/>
                    <a:pt x="399" y="104"/>
                    <a:pt x="402" y="107"/>
                  </a:cubicBezTo>
                  <a:lnTo>
                    <a:pt x="406" y="110"/>
                  </a:lnTo>
                  <a:cubicBezTo>
                    <a:pt x="411" y="116"/>
                    <a:pt x="411" y="124"/>
                    <a:pt x="406" y="129"/>
                  </a:cubicBezTo>
                  <a:lnTo>
                    <a:pt x="316" y="223"/>
                  </a:lnTo>
                  <a:lnTo>
                    <a:pt x="332" y="239"/>
                  </a:lnTo>
                  <a:lnTo>
                    <a:pt x="390" y="180"/>
                  </a:lnTo>
                  <a:cubicBezTo>
                    <a:pt x="393" y="178"/>
                    <a:pt x="396" y="176"/>
                    <a:pt x="400" y="176"/>
                  </a:cubicBezTo>
                  <a:cubicBezTo>
                    <a:pt x="404" y="176"/>
                    <a:pt x="407" y="178"/>
                    <a:pt x="410" y="180"/>
                  </a:cubicBezTo>
                  <a:cubicBezTo>
                    <a:pt x="415" y="186"/>
                    <a:pt x="415" y="194"/>
                    <a:pt x="410" y="199"/>
                  </a:cubicBezTo>
                  <a:lnTo>
                    <a:pt x="275" y="334"/>
                  </a:lnTo>
                  <a:cubicBezTo>
                    <a:pt x="263" y="346"/>
                    <a:pt x="218" y="384"/>
                    <a:pt x="164" y="349"/>
                  </a:cubicBezTo>
                  <a:cubicBezTo>
                    <a:pt x="111" y="315"/>
                    <a:pt x="97" y="253"/>
                    <a:pt x="95" y="240"/>
                  </a:cubicBez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22">
              <a:extLst>
                <a:ext uri="{FF2B5EF4-FFF2-40B4-BE49-F238E27FC236}">
                  <a16:creationId xmlns:a16="http://schemas.microsoft.com/office/drawing/2014/main" id="{F20F19E1-E129-BEC8-1917-B5C596162937}"/>
                </a:ext>
              </a:extLst>
            </p:cNvPr>
            <p:cNvSpPr>
              <a:spLocks noEditPoints="1"/>
            </p:cNvSpPr>
            <p:nvPr/>
          </p:nvSpPr>
          <p:spPr bwMode="auto">
            <a:xfrm>
              <a:off x="495754" y="4111437"/>
              <a:ext cx="336550" cy="319088"/>
            </a:xfrm>
            <a:custGeom>
              <a:avLst/>
              <a:gdLst>
                <a:gd name="T0" fmla="*/ 418 w 463"/>
                <a:gd name="T1" fmla="*/ 211 h 439"/>
                <a:gd name="T2" fmla="*/ 350 w 463"/>
                <a:gd name="T3" fmla="*/ 149 h 439"/>
                <a:gd name="T4" fmla="*/ 165 w 463"/>
                <a:gd name="T5" fmla="*/ 13 h 439"/>
                <a:gd name="T6" fmla="*/ 145 w 463"/>
                <a:gd name="T7" fmla="*/ 17 h 439"/>
                <a:gd name="T8" fmla="*/ 91 w 463"/>
                <a:gd name="T9" fmla="*/ 21 h 439"/>
                <a:gd name="T10" fmla="*/ 83 w 463"/>
                <a:gd name="T11" fmla="*/ 31 h 439"/>
                <a:gd name="T12" fmla="*/ 24 w 463"/>
                <a:gd name="T13" fmla="*/ 40 h 439"/>
                <a:gd name="T14" fmla="*/ 24 w 463"/>
                <a:gd name="T15" fmla="*/ 91 h 439"/>
                <a:gd name="T16" fmla="*/ 22 w 463"/>
                <a:gd name="T17" fmla="*/ 108 h 439"/>
                <a:gd name="T18" fmla="*/ 14 w 463"/>
                <a:gd name="T19" fmla="*/ 166 h 439"/>
                <a:gd name="T20" fmla="*/ 24 w 463"/>
                <a:gd name="T21" fmla="*/ 291 h 439"/>
                <a:gd name="T22" fmla="*/ 75 w 463"/>
                <a:gd name="T23" fmla="*/ 334 h 439"/>
                <a:gd name="T24" fmla="*/ 238 w 463"/>
                <a:gd name="T25" fmla="*/ 366 h 439"/>
                <a:gd name="T26" fmla="*/ 269 w 463"/>
                <a:gd name="T27" fmla="*/ 359 h 439"/>
                <a:gd name="T28" fmla="*/ 286 w 463"/>
                <a:gd name="T29" fmla="*/ 439 h 439"/>
                <a:gd name="T30" fmla="*/ 269 w 463"/>
                <a:gd name="T31" fmla="*/ 391 h 439"/>
                <a:gd name="T32" fmla="*/ 451 w 463"/>
                <a:gd name="T33" fmla="*/ 276 h 439"/>
                <a:gd name="T34" fmla="*/ 418 w 463"/>
                <a:gd name="T35" fmla="*/ 211 h 439"/>
                <a:gd name="T36" fmla="*/ 349 w 463"/>
                <a:gd name="T37" fmla="*/ 275 h 439"/>
                <a:gd name="T38" fmla="*/ 328 w 463"/>
                <a:gd name="T39" fmla="*/ 300 h 439"/>
                <a:gd name="T40" fmla="*/ 140 w 463"/>
                <a:gd name="T41" fmla="*/ 325 h 439"/>
                <a:gd name="T42" fmla="*/ 73 w 463"/>
                <a:gd name="T43" fmla="*/ 312 h 439"/>
                <a:gd name="T44" fmla="*/ 45 w 463"/>
                <a:gd name="T45" fmla="*/ 295 h 439"/>
                <a:gd name="T46" fmla="*/ 157 w 463"/>
                <a:gd name="T47" fmla="*/ 278 h 439"/>
                <a:gd name="T48" fmla="*/ 29 w 463"/>
                <a:gd name="T49" fmla="*/ 131 h 439"/>
                <a:gd name="T50" fmla="*/ 55 w 463"/>
                <a:gd name="T51" fmla="*/ 122 h 439"/>
                <a:gd name="T52" fmla="*/ 145 w 463"/>
                <a:gd name="T53" fmla="*/ 180 h 439"/>
                <a:gd name="T54" fmla="*/ 70 w 463"/>
                <a:gd name="T55" fmla="*/ 106 h 439"/>
                <a:gd name="T56" fmla="*/ 35 w 463"/>
                <a:gd name="T57" fmla="*/ 66 h 439"/>
                <a:gd name="T58" fmla="*/ 49 w 463"/>
                <a:gd name="T59" fmla="*/ 47 h 439"/>
                <a:gd name="T60" fmla="*/ 86 w 463"/>
                <a:gd name="T61" fmla="*/ 64 h 439"/>
                <a:gd name="T62" fmla="*/ 180 w 463"/>
                <a:gd name="T63" fmla="*/ 159 h 439"/>
                <a:gd name="T64" fmla="*/ 104 w 463"/>
                <a:gd name="T65" fmla="*/ 51 h 439"/>
                <a:gd name="T66" fmla="*/ 107 w 463"/>
                <a:gd name="T67" fmla="*/ 37 h 439"/>
                <a:gd name="T68" fmla="*/ 129 w 463"/>
                <a:gd name="T69" fmla="*/ 33 h 439"/>
                <a:gd name="T70" fmla="*/ 239 w 463"/>
                <a:gd name="T71" fmla="*/ 107 h 439"/>
                <a:gd name="T72" fmla="*/ 176 w 463"/>
                <a:gd name="T73" fmla="*/ 39 h 439"/>
                <a:gd name="T74" fmla="*/ 199 w 463"/>
                <a:gd name="T75" fmla="*/ 29 h 439"/>
                <a:gd name="T76" fmla="*/ 349 w 463"/>
                <a:gd name="T77" fmla="*/ 275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3" h="439">
                  <a:moveTo>
                    <a:pt x="418" y="211"/>
                  </a:moveTo>
                  <a:lnTo>
                    <a:pt x="418" y="211"/>
                  </a:lnTo>
                  <a:lnTo>
                    <a:pt x="384" y="244"/>
                  </a:lnTo>
                  <a:cubicBezTo>
                    <a:pt x="390" y="206"/>
                    <a:pt x="373" y="172"/>
                    <a:pt x="350" y="149"/>
                  </a:cubicBezTo>
                  <a:lnTo>
                    <a:pt x="215" y="14"/>
                  </a:lnTo>
                  <a:cubicBezTo>
                    <a:pt x="201" y="0"/>
                    <a:pt x="179" y="0"/>
                    <a:pt x="165" y="13"/>
                  </a:cubicBezTo>
                  <a:cubicBezTo>
                    <a:pt x="161" y="18"/>
                    <a:pt x="158" y="23"/>
                    <a:pt x="156" y="28"/>
                  </a:cubicBezTo>
                  <a:lnTo>
                    <a:pt x="145" y="17"/>
                  </a:lnTo>
                  <a:cubicBezTo>
                    <a:pt x="131" y="4"/>
                    <a:pt x="108" y="4"/>
                    <a:pt x="95" y="18"/>
                  </a:cubicBezTo>
                  <a:lnTo>
                    <a:pt x="91" y="21"/>
                  </a:lnTo>
                  <a:cubicBezTo>
                    <a:pt x="88" y="24"/>
                    <a:pt x="86" y="28"/>
                    <a:pt x="84" y="32"/>
                  </a:cubicBezTo>
                  <a:lnTo>
                    <a:pt x="83" y="31"/>
                  </a:lnTo>
                  <a:cubicBezTo>
                    <a:pt x="69" y="17"/>
                    <a:pt x="47" y="17"/>
                    <a:pt x="33" y="31"/>
                  </a:cubicBezTo>
                  <a:lnTo>
                    <a:pt x="24" y="40"/>
                  </a:lnTo>
                  <a:cubicBezTo>
                    <a:pt x="17" y="47"/>
                    <a:pt x="13" y="56"/>
                    <a:pt x="13" y="66"/>
                  </a:cubicBezTo>
                  <a:cubicBezTo>
                    <a:pt x="13" y="75"/>
                    <a:pt x="17" y="84"/>
                    <a:pt x="24" y="91"/>
                  </a:cubicBezTo>
                  <a:lnTo>
                    <a:pt x="33" y="100"/>
                  </a:lnTo>
                  <a:cubicBezTo>
                    <a:pt x="29" y="102"/>
                    <a:pt x="25" y="104"/>
                    <a:pt x="22" y="108"/>
                  </a:cubicBezTo>
                  <a:lnTo>
                    <a:pt x="14" y="116"/>
                  </a:lnTo>
                  <a:cubicBezTo>
                    <a:pt x="0" y="130"/>
                    <a:pt x="0" y="152"/>
                    <a:pt x="14" y="166"/>
                  </a:cubicBezTo>
                  <a:lnTo>
                    <a:pt x="105" y="257"/>
                  </a:lnTo>
                  <a:cubicBezTo>
                    <a:pt x="71" y="259"/>
                    <a:pt x="28" y="267"/>
                    <a:pt x="24" y="291"/>
                  </a:cubicBezTo>
                  <a:cubicBezTo>
                    <a:pt x="21" y="305"/>
                    <a:pt x="26" y="314"/>
                    <a:pt x="31" y="320"/>
                  </a:cubicBezTo>
                  <a:cubicBezTo>
                    <a:pt x="42" y="331"/>
                    <a:pt x="61" y="335"/>
                    <a:pt x="75" y="334"/>
                  </a:cubicBezTo>
                  <a:cubicBezTo>
                    <a:pt x="81" y="334"/>
                    <a:pt x="111" y="341"/>
                    <a:pt x="135" y="347"/>
                  </a:cubicBezTo>
                  <a:cubicBezTo>
                    <a:pt x="185" y="358"/>
                    <a:pt x="221" y="366"/>
                    <a:pt x="238" y="366"/>
                  </a:cubicBezTo>
                  <a:cubicBezTo>
                    <a:pt x="241" y="366"/>
                    <a:pt x="243" y="366"/>
                    <a:pt x="244" y="365"/>
                  </a:cubicBezTo>
                  <a:cubicBezTo>
                    <a:pt x="250" y="365"/>
                    <a:pt x="259" y="363"/>
                    <a:pt x="269" y="359"/>
                  </a:cubicBezTo>
                  <a:lnTo>
                    <a:pt x="238" y="391"/>
                  </a:lnTo>
                  <a:lnTo>
                    <a:pt x="286" y="439"/>
                  </a:lnTo>
                  <a:cubicBezTo>
                    <a:pt x="292" y="435"/>
                    <a:pt x="299" y="431"/>
                    <a:pt x="305" y="427"/>
                  </a:cubicBezTo>
                  <a:lnTo>
                    <a:pt x="269" y="391"/>
                  </a:lnTo>
                  <a:lnTo>
                    <a:pt x="418" y="242"/>
                  </a:lnTo>
                  <a:lnTo>
                    <a:pt x="451" y="276"/>
                  </a:lnTo>
                  <a:cubicBezTo>
                    <a:pt x="455" y="269"/>
                    <a:pt x="460" y="263"/>
                    <a:pt x="463" y="257"/>
                  </a:cubicBezTo>
                  <a:lnTo>
                    <a:pt x="418" y="211"/>
                  </a:lnTo>
                  <a:close/>
                  <a:moveTo>
                    <a:pt x="349" y="275"/>
                  </a:moveTo>
                  <a:lnTo>
                    <a:pt x="349" y="275"/>
                  </a:lnTo>
                  <a:cubicBezTo>
                    <a:pt x="343" y="285"/>
                    <a:pt x="336" y="293"/>
                    <a:pt x="328" y="300"/>
                  </a:cubicBezTo>
                  <a:lnTo>
                    <a:pt x="328" y="300"/>
                  </a:lnTo>
                  <a:cubicBezTo>
                    <a:pt x="296" y="331"/>
                    <a:pt x="254" y="341"/>
                    <a:pt x="240" y="344"/>
                  </a:cubicBezTo>
                  <a:cubicBezTo>
                    <a:pt x="230" y="346"/>
                    <a:pt x="174" y="333"/>
                    <a:pt x="140" y="325"/>
                  </a:cubicBezTo>
                  <a:cubicBezTo>
                    <a:pt x="100" y="316"/>
                    <a:pt x="83" y="312"/>
                    <a:pt x="75" y="312"/>
                  </a:cubicBezTo>
                  <a:cubicBezTo>
                    <a:pt x="74" y="312"/>
                    <a:pt x="74" y="312"/>
                    <a:pt x="73" y="312"/>
                  </a:cubicBezTo>
                  <a:cubicBezTo>
                    <a:pt x="65" y="313"/>
                    <a:pt x="53" y="310"/>
                    <a:pt x="47" y="305"/>
                  </a:cubicBezTo>
                  <a:cubicBezTo>
                    <a:pt x="46" y="303"/>
                    <a:pt x="44" y="300"/>
                    <a:pt x="45" y="295"/>
                  </a:cubicBezTo>
                  <a:cubicBezTo>
                    <a:pt x="47" y="288"/>
                    <a:pt x="85" y="278"/>
                    <a:pt x="130" y="278"/>
                  </a:cubicBezTo>
                  <a:lnTo>
                    <a:pt x="157" y="278"/>
                  </a:lnTo>
                  <a:lnTo>
                    <a:pt x="29" y="151"/>
                  </a:lnTo>
                  <a:cubicBezTo>
                    <a:pt x="24" y="145"/>
                    <a:pt x="24" y="137"/>
                    <a:pt x="29" y="131"/>
                  </a:cubicBezTo>
                  <a:lnTo>
                    <a:pt x="37" y="123"/>
                  </a:lnTo>
                  <a:cubicBezTo>
                    <a:pt x="42" y="119"/>
                    <a:pt x="50" y="118"/>
                    <a:pt x="55" y="122"/>
                  </a:cubicBezTo>
                  <a:lnTo>
                    <a:pt x="129" y="196"/>
                  </a:lnTo>
                  <a:lnTo>
                    <a:pt x="145" y="180"/>
                  </a:lnTo>
                  <a:lnTo>
                    <a:pt x="72" y="108"/>
                  </a:lnTo>
                  <a:cubicBezTo>
                    <a:pt x="71" y="107"/>
                    <a:pt x="71" y="106"/>
                    <a:pt x="70" y="106"/>
                  </a:cubicBezTo>
                  <a:lnTo>
                    <a:pt x="39" y="75"/>
                  </a:lnTo>
                  <a:cubicBezTo>
                    <a:pt x="37" y="73"/>
                    <a:pt x="35" y="69"/>
                    <a:pt x="35" y="66"/>
                  </a:cubicBezTo>
                  <a:cubicBezTo>
                    <a:pt x="35" y="62"/>
                    <a:pt x="37" y="59"/>
                    <a:pt x="39" y="56"/>
                  </a:cubicBezTo>
                  <a:lnTo>
                    <a:pt x="49" y="47"/>
                  </a:lnTo>
                  <a:cubicBezTo>
                    <a:pt x="54" y="41"/>
                    <a:pt x="62" y="41"/>
                    <a:pt x="68" y="47"/>
                  </a:cubicBezTo>
                  <a:lnTo>
                    <a:pt x="86" y="64"/>
                  </a:lnTo>
                  <a:cubicBezTo>
                    <a:pt x="87" y="67"/>
                    <a:pt x="89" y="70"/>
                    <a:pt x="91" y="72"/>
                  </a:cubicBezTo>
                  <a:lnTo>
                    <a:pt x="180" y="159"/>
                  </a:lnTo>
                  <a:lnTo>
                    <a:pt x="195" y="143"/>
                  </a:lnTo>
                  <a:lnTo>
                    <a:pt x="104" y="51"/>
                  </a:lnTo>
                  <a:cubicBezTo>
                    <a:pt x="103" y="50"/>
                    <a:pt x="103" y="48"/>
                    <a:pt x="103" y="47"/>
                  </a:cubicBezTo>
                  <a:cubicBezTo>
                    <a:pt x="103" y="43"/>
                    <a:pt x="104" y="40"/>
                    <a:pt x="107" y="37"/>
                  </a:cubicBezTo>
                  <a:lnTo>
                    <a:pt x="111" y="33"/>
                  </a:lnTo>
                  <a:cubicBezTo>
                    <a:pt x="116" y="28"/>
                    <a:pt x="124" y="28"/>
                    <a:pt x="129" y="33"/>
                  </a:cubicBezTo>
                  <a:lnTo>
                    <a:pt x="223" y="123"/>
                  </a:lnTo>
                  <a:lnTo>
                    <a:pt x="239" y="107"/>
                  </a:lnTo>
                  <a:lnTo>
                    <a:pt x="180" y="49"/>
                  </a:lnTo>
                  <a:cubicBezTo>
                    <a:pt x="178" y="46"/>
                    <a:pt x="176" y="43"/>
                    <a:pt x="176" y="39"/>
                  </a:cubicBezTo>
                  <a:cubicBezTo>
                    <a:pt x="176" y="35"/>
                    <a:pt x="178" y="32"/>
                    <a:pt x="180" y="29"/>
                  </a:cubicBezTo>
                  <a:cubicBezTo>
                    <a:pt x="186" y="24"/>
                    <a:pt x="194" y="24"/>
                    <a:pt x="199" y="29"/>
                  </a:cubicBezTo>
                  <a:lnTo>
                    <a:pt x="334" y="164"/>
                  </a:lnTo>
                  <a:cubicBezTo>
                    <a:pt x="346" y="176"/>
                    <a:pt x="384" y="221"/>
                    <a:pt x="349" y="275"/>
                  </a:cubicBez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23">
              <a:extLst>
                <a:ext uri="{FF2B5EF4-FFF2-40B4-BE49-F238E27FC236}">
                  <a16:creationId xmlns:a16="http://schemas.microsoft.com/office/drawing/2014/main" id="{BD4CE9B4-8480-7056-FB44-E44645D91CCF}"/>
                </a:ext>
              </a:extLst>
            </p:cNvPr>
            <p:cNvSpPr>
              <a:spLocks noEditPoints="1"/>
            </p:cNvSpPr>
            <p:nvPr/>
          </p:nvSpPr>
          <p:spPr bwMode="auto">
            <a:xfrm>
              <a:off x="506867" y="3752662"/>
              <a:ext cx="319088" cy="334963"/>
            </a:xfrm>
            <a:custGeom>
              <a:avLst/>
              <a:gdLst>
                <a:gd name="T0" fmla="*/ 244 w 439"/>
                <a:gd name="T1" fmla="*/ 79 h 460"/>
                <a:gd name="T2" fmla="*/ 14 w 439"/>
                <a:gd name="T3" fmla="*/ 248 h 460"/>
                <a:gd name="T4" fmla="*/ 28 w 439"/>
                <a:gd name="T5" fmla="*/ 307 h 460"/>
                <a:gd name="T6" fmla="*/ 18 w 439"/>
                <a:gd name="T7" fmla="*/ 368 h 460"/>
                <a:gd name="T8" fmla="*/ 32 w 439"/>
                <a:gd name="T9" fmla="*/ 379 h 460"/>
                <a:gd name="T10" fmla="*/ 31 w 439"/>
                <a:gd name="T11" fmla="*/ 430 h 460"/>
                <a:gd name="T12" fmla="*/ 66 w 439"/>
                <a:gd name="T13" fmla="*/ 450 h 460"/>
                <a:gd name="T14" fmla="*/ 91 w 439"/>
                <a:gd name="T15" fmla="*/ 439 h 460"/>
                <a:gd name="T16" fmla="*/ 108 w 439"/>
                <a:gd name="T17" fmla="*/ 441 h 460"/>
                <a:gd name="T18" fmla="*/ 141 w 439"/>
                <a:gd name="T19" fmla="*/ 460 h 460"/>
                <a:gd name="T20" fmla="*/ 257 w 439"/>
                <a:gd name="T21" fmla="*/ 358 h 460"/>
                <a:gd name="T22" fmla="*/ 320 w 439"/>
                <a:gd name="T23" fmla="*/ 432 h 460"/>
                <a:gd name="T24" fmla="*/ 347 w 439"/>
                <a:gd name="T25" fmla="*/ 328 h 460"/>
                <a:gd name="T26" fmla="*/ 359 w 439"/>
                <a:gd name="T27" fmla="*/ 194 h 460"/>
                <a:gd name="T28" fmla="*/ 439 w 439"/>
                <a:gd name="T29" fmla="*/ 177 h 460"/>
                <a:gd name="T30" fmla="*/ 391 w 439"/>
                <a:gd name="T31" fmla="*/ 194 h 460"/>
                <a:gd name="T32" fmla="*/ 276 w 439"/>
                <a:gd name="T33" fmla="*/ 12 h 460"/>
                <a:gd name="T34" fmla="*/ 211 w 439"/>
                <a:gd name="T35" fmla="*/ 45 h 460"/>
                <a:gd name="T36" fmla="*/ 344 w 439"/>
                <a:gd name="T37" fmla="*/ 223 h 460"/>
                <a:gd name="T38" fmla="*/ 325 w 439"/>
                <a:gd name="T39" fmla="*/ 323 h 460"/>
                <a:gd name="T40" fmla="*/ 305 w 439"/>
                <a:gd name="T41" fmla="*/ 416 h 460"/>
                <a:gd name="T42" fmla="*/ 278 w 439"/>
                <a:gd name="T43" fmla="*/ 333 h 460"/>
                <a:gd name="T44" fmla="*/ 151 w 439"/>
                <a:gd name="T45" fmla="*/ 434 h 460"/>
                <a:gd name="T46" fmla="*/ 123 w 439"/>
                <a:gd name="T47" fmla="*/ 426 h 460"/>
                <a:gd name="T48" fmla="*/ 196 w 439"/>
                <a:gd name="T49" fmla="*/ 334 h 460"/>
                <a:gd name="T50" fmla="*/ 108 w 439"/>
                <a:gd name="T51" fmla="*/ 391 h 460"/>
                <a:gd name="T52" fmla="*/ 75 w 439"/>
                <a:gd name="T53" fmla="*/ 424 h 460"/>
                <a:gd name="T54" fmla="*/ 66 w 439"/>
                <a:gd name="T55" fmla="*/ 428 h 460"/>
                <a:gd name="T56" fmla="*/ 47 w 439"/>
                <a:gd name="T57" fmla="*/ 414 h 460"/>
                <a:gd name="T58" fmla="*/ 65 w 439"/>
                <a:gd name="T59" fmla="*/ 378 h 460"/>
                <a:gd name="T60" fmla="*/ 159 w 439"/>
                <a:gd name="T61" fmla="*/ 283 h 460"/>
                <a:gd name="T62" fmla="*/ 51 w 439"/>
                <a:gd name="T63" fmla="*/ 359 h 460"/>
                <a:gd name="T64" fmla="*/ 37 w 439"/>
                <a:gd name="T65" fmla="*/ 356 h 460"/>
                <a:gd name="T66" fmla="*/ 33 w 439"/>
                <a:gd name="T67" fmla="*/ 334 h 460"/>
                <a:gd name="T68" fmla="*/ 107 w 439"/>
                <a:gd name="T69" fmla="*/ 224 h 460"/>
                <a:gd name="T70" fmla="*/ 39 w 439"/>
                <a:gd name="T71" fmla="*/ 287 h 460"/>
                <a:gd name="T72" fmla="*/ 30 w 439"/>
                <a:gd name="T73" fmla="*/ 264 h 460"/>
                <a:gd name="T74" fmla="*/ 275 w 439"/>
                <a:gd name="T75" fmla="*/ 114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9" h="460">
                  <a:moveTo>
                    <a:pt x="244" y="79"/>
                  </a:moveTo>
                  <a:lnTo>
                    <a:pt x="244" y="79"/>
                  </a:lnTo>
                  <a:cubicBezTo>
                    <a:pt x="206" y="73"/>
                    <a:pt x="172" y="90"/>
                    <a:pt x="149" y="113"/>
                  </a:cubicBezTo>
                  <a:lnTo>
                    <a:pt x="14" y="248"/>
                  </a:lnTo>
                  <a:cubicBezTo>
                    <a:pt x="0" y="262"/>
                    <a:pt x="0" y="284"/>
                    <a:pt x="14" y="298"/>
                  </a:cubicBezTo>
                  <a:cubicBezTo>
                    <a:pt x="18" y="302"/>
                    <a:pt x="23" y="305"/>
                    <a:pt x="28" y="307"/>
                  </a:cubicBezTo>
                  <a:lnTo>
                    <a:pt x="17" y="318"/>
                  </a:lnTo>
                  <a:cubicBezTo>
                    <a:pt x="4" y="332"/>
                    <a:pt x="4" y="354"/>
                    <a:pt x="18" y="368"/>
                  </a:cubicBezTo>
                  <a:lnTo>
                    <a:pt x="22" y="372"/>
                  </a:lnTo>
                  <a:cubicBezTo>
                    <a:pt x="25" y="375"/>
                    <a:pt x="28" y="377"/>
                    <a:pt x="32" y="379"/>
                  </a:cubicBezTo>
                  <a:lnTo>
                    <a:pt x="31" y="380"/>
                  </a:lnTo>
                  <a:cubicBezTo>
                    <a:pt x="17" y="394"/>
                    <a:pt x="17" y="416"/>
                    <a:pt x="31" y="430"/>
                  </a:cubicBezTo>
                  <a:lnTo>
                    <a:pt x="41" y="439"/>
                  </a:lnTo>
                  <a:cubicBezTo>
                    <a:pt x="47" y="446"/>
                    <a:pt x="56" y="450"/>
                    <a:pt x="66" y="450"/>
                  </a:cubicBezTo>
                  <a:lnTo>
                    <a:pt x="66" y="450"/>
                  </a:lnTo>
                  <a:cubicBezTo>
                    <a:pt x="75" y="450"/>
                    <a:pt x="84" y="446"/>
                    <a:pt x="91" y="439"/>
                  </a:cubicBezTo>
                  <a:lnTo>
                    <a:pt x="100" y="430"/>
                  </a:lnTo>
                  <a:cubicBezTo>
                    <a:pt x="102" y="434"/>
                    <a:pt x="105" y="438"/>
                    <a:pt x="108" y="441"/>
                  </a:cubicBezTo>
                  <a:lnTo>
                    <a:pt x="116" y="449"/>
                  </a:lnTo>
                  <a:cubicBezTo>
                    <a:pt x="123" y="456"/>
                    <a:pt x="132" y="460"/>
                    <a:pt x="141" y="460"/>
                  </a:cubicBezTo>
                  <a:cubicBezTo>
                    <a:pt x="150" y="460"/>
                    <a:pt x="159" y="456"/>
                    <a:pt x="166" y="449"/>
                  </a:cubicBezTo>
                  <a:lnTo>
                    <a:pt x="257" y="358"/>
                  </a:lnTo>
                  <a:cubicBezTo>
                    <a:pt x="259" y="392"/>
                    <a:pt x="267" y="435"/>
                    <a:pt x="291" y="439"/>
                  </a:cubicBezTo>
                  <a:cubicBezTo>
                    <a:pt x="305" y="442"/>
                    <a:pt x="314" y="437"/>
                    <a:pt x="320" y="432"/>
                  </a:cubicBezTo>
                  <a:cubicBezTo>
                    <a:pt x="332" y="421"/>
                    <a:pt x="336" y="402"/>
                    <a:pt x="334" y="388"/>
                  </a:cubicBezTo>
                  <a:cubicBezTo>
                    <a:pt x="334" y="382"/>
                    <a:pt x="341" y="352"/>
                    <a:pt x="347" y="328"/>
                  </a:cubicBezTo>
                  <a:cubicBezTo>
                    <a:pt x="360" y="271"/>
                    <a:pt x="368" y="233"/>
                    <a:pt x="366" y="219"/>
                  </a:cubicBezTo>
                  <a:cubicBezTo>
                    <a:pt x="365" y="213"/>
                    <a:pt x="363" y="204"/>
                    <a:pt x="359" y="194"/>
                  </a:cubicBezTo>
                  <a:lnTo>
                    <a:pt x="391" y="225"/>
                  </a:lnTo>
                  <a:lnTo>
                    <a:pt x="439" y="177"/>
                  </a:lnTo>
                  <a:cubicBezTo>
                    <a:pt x="435" y="171"/>
                    <a:pt x="431" y="164"/>
                    <a:pt x="427" y="158"/>
                  </a:cubicBezTo>
                  <a:lnTo>
                    <a:pt x="391" y="194"/>
                  </a:lnTo>
                  <a:lnTo>
                    <a:pt x="242" y="45"/>
                  </a:lnTo>
                  <a:lnTo>
                    <a:pt x="276" y="12"/>
                  </a:lnTo>
                  <a:cubicBezTo>
                    <a:pt x="270" y="8"/>
                    <a:pt x="263" y="3"/>
                    <a:pt x="257" y="0"/>
                  </a:cubicBezTo>
                  <a:lnTo>
                    <a:pt x="211" y="45"/>
                  </a:lnTo>
                  <a:lnTo>
                    <a:pt x="244" y="79"/>
                  </a:lnTo>
                  <a:close/>
                  <a:moveTo>
                    <a:pt x="344" y="223"/>
                  </a:moveTo>
                  <a:lnTo>
                    <a:pt x="344" y="223"/>
                  </a:lnTo>
                  <a:cubicBezTo>
                    <a:pt x="346" y="233"/>
                    <a:pt x="333" y="289"/>
                    <a:pt x="325" y="323"/>
                  </a:cubicBezTo>
                  <a:cubicBezTo>
                    <a:pt x="315" y="366"/>
                    <a:pt x="312" y="383"/>
                    <a:pt x="312" y="390"/>
                  </a:cubicBezTo>
                  <a:cubicBezTo>
                    <a:pt x="313" y="398"/>
                    <a:pt x="310" y="410"/>
                    <a:pt x="305" y="416"/>
                  </a:cubicBezTo>
                  <a:cubicBezTo>
                    <a:pt x="303" y="417"/>
                    <a:pt x="301" y="419"/>
                    <a:pt x="295" y="418"/>
                  </a:cubicBezTo>
                  <a:cubicBezTo>
                    <a:pt x="288" y="416"/>
                    <a:pt x="278" y="378"/>
                    <a:pt x="278" y="333"/>
                  </a:cubicBezTo>
                  <a:lnTo>
                    <a:pt x="278" y="306"/>
                  </a:lnTo>
                  <a:lnTo>
                    <a:pt x="151" y="434"/>
                  </a:lnTo>
                  <a:cubicBezTo>
                    <a:pt x="145" y="439"/>
                    <a:pt x="137" y="439"/>
                    <a:pt x="131" y="434"/>
                  </a:cubicBezTo>
                  <a:lnTo>
                    <a:pt x="123" y="426"/>
                  </a:lnTo>
                  <a:cubicBezTo>
                    <a:pt x="119" y="421"/>
                    <a:pt x="118" y="413"/>
                    <a:pt x="122" y="408"/>
                  </a:cubicBezTo>
                  <a:lnTo>
                    <a:pt x="196" y="334"/>
                  </a:lnTo>
                  <a:lnTo>
                    <a:pt x="180" y="318"/>
                  </a:lnTo>
                  <a:lnTo>
                    <a:pt x="108" y="391"/>
                  </a:lnTo>
                  <a:cubicBezTo>
                    <a:pt x="107" y="392"/>
                    <a:pt x="106" y="392"/>
                    <a:pt x="106" y="393"/>
                  </a:cubicBezTo>
                  <a:lnTo>
                    <a:pt x="75" y="424"/>
                  </a:lnTo>
                  <a:cubicBezTo>
                    <a:pt x="73" y="426"/>
                    <a:pt x="69" y="428"/>
                    <a:pt x="66" y="428"/>
                  </a:cubicBezTo>
                  <a:lnTo>
                    <a:pt x="66" y="428"/>
                  </a:lnTo>
                  <a:cubicBezTo>
                    <a:pt x="62" y="428"/>
                    <a:pt x="59" y="426"/>
                    <a:pt x="56" y="424"/>
                  </a:cubicBezTo>
                  <a:lnTo>
                    <a:pt x="47" y="414"/>
                  </a:lnTo>
                  <a:cubicBezTo>
                    <a:pt x="41" y="409"/>
                    <a:pt x="41" y="401"/>
                    <a:pt x="47" y="395"/>
                  </a:cubicBezTo>
                  <a:lnTo>
                    <a:pt x="65" y="378"/>
                  </a:lnTo>
                  <a:cubicBezTo>
                    <a:pt x="67" y="376"/>
                    <a:pt x="70" y="374"/>
                    <a:pt x="72" y="372"/>
                  </a:cubicBezTo>
                  <a:lnTo>
                    <a:pt x="159" y="283"/>
                  </a:lnTo>
                  <a:lnTo>
                    <a:pt x="143" y="268"/>
                  </a:lnTo>
                  <a:lnTo>
                    <a:pt x="51" y="359"/>
                  </a:lnTo>
                  <a:cubicBezTo>
                    <a:pt x="50" y="360"/>
                    <a:pt x="48" y="360"/>
                    <a:pt x="47" y="360"/>
                  </a:cubicBezTo>
                  <a:cubicBezTo>
                    <a:pt x="43" y="360"/>
                    <a:pt x="40" y="359"/>
                    <a:pt x="37" y="356"/>
                  </a:cubicBezTo>
                  <a:lnTo>
                    <a:pt x="33" y="352"/>
                  </a:lnTo>
                  <a:cubicBezTo>
                    <a:pt x="28" y="347"/>
                    <a:pt x="28" y="339"/>
                    <a:pt x="33" y="334"/>
                  </a:cubicBezTo>
                  <a:lnTo>
                    <a:pt x="123" y="240"/>
                  </a:lnTo>
                  <a:lnTo>
                    <a:pt x="107" y="224"/>
                  </a:lnTo>
                  <a:lnTo>
                    <a:pt x="49" y="283"/>
                  </a:lnTo>
                  <a:cubicBezTo>
                    <a:pt x="46" y="285"/>
                    <a:pt x="42" y="287"/>
                    <a:pt x="39" y="287"/>
                  </a:cubicBezTo>
                  <a:cubicBezTo>
                    <a:pt x="35" y="287"/>
                    <a:pt x="32" y="285"/>
                    <a:pt x="29" y="283"/>
                  </a:cubicBezTo>
                  <a:cubicBezTo>
                    <a:pt x="24" y="277"/>
                    <a:pt x="24" y="269"/>
                    <a:pt x="30" y="264"/>
                  </a:cubicBezTo>
                  <a:lnTo>
                    <a:pt x="164" y="129"/>
                  </a:lnTo>
                  <a:cubicBezTo>
                    <a:pt x="177" y="117"/>
                    <a:pt x="221" y="79"/>
                    <a:pt x="275" y="114"/>
                  </a:cubicBezTo>
                  <a:cubicBezTo>
                    <a:pt x="328" y="148"/>
                    <a:pt x="342" y="210"/>
                    <a:pt x="344" y="223"/>
                  </a:cubicBez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24">
              <a:extLst>
                <a:ext uri="{FF2B5EF4-FFF2-40B4-BE49-F238E27FC236}">
                  <a16:creationId xmlns:a16="http://schemas.microsoft.com/office/drawing/2014/main" id="{BF68FDE9-4A30-85C0-8D51-6BCAC15BE5A3}"/>
                </a:ext>
              </a:extLst>
            </p:cNvPr>
            <p:cNvSpPr>
              <a:spLocks noEditPoints="1"/>
            </p:cNvSpPr>
            <p:nvPr/>
          </p:nvSpPr>
          <p:spPr bwMode="auto">
            <a:xfrm>
              <a:off x="148092" y="3759012"/>
              <a:ext cx="336550" cy="315913"/>
            </a:xfrm>
            <a:custGeom>
              <a:avLst/>
              <a:gdLst>
                <a:gd name="T0" fmla="*/ 79 w 463"/>
                <a:gd name="T1" fmla="*/ 195 h 435"/>
                <a:gd name="T2" fmla="*/ 248 w 463"/>
                <a:gd name="T3" fmla="*/ 425 h 435"/>
                <a:gd name="T4" fmla="*/ 298 w 463"/>
                <a:gd name="T5" fmla="*/ 425 h 435"/>
                <a:gd name="T6" fmla="*/ 318 w 463"/>
                <a:gd name="T7" fmla="*/ 422 h 435"/>
                <a:gd name="T8" fmla="*/ 372 w 463"/>
                <a:gd name="T9" fmla="*/ 417 h 435"/>
                <a:gd name="T10" fmla="*/ 380 w 463"/>
                <a:gd name="T11" fmla="*/ 408 h 435"/>
                <a:gd name="T12" fmla="*/ 440 w 463"/>
                <a:gd name="T13" fmla="*/ 398 h 435"/>
                <a:gd name="T14" fmla="*/ 439 w 463"/>
                <a:gd name="T15" fmla="*/ 348 h 435"/>
                <a:gd name="T16" fmla="*/ 441 w 463"/>
                <a:gd name="T17" fmla="*/ 331 h 435"/>
                <a:gd name="T18" fmla="*/ 449 w 463"/>
                <a:gd name="T19" fmla="*/ 273 h 435"/>
                <a:gd name="T20" fmla="*/ 439 w 463"/>
                <a:gd name="T21" fmla="*/ 148 h 435"/>
                <a:gd name="T22" fmla="*/ 388 w 463"/>
                <a:gd name="T23" fmla="*/ 105 h 435"/>
                <a:gd name="T24" fmla="*/ 328 w 463"/>
                <a:gd name="T25" fmla="*/ 92 h 435"/>
                <a:gd name="T26" fmla="*/ 194 w 463"/>
                <a:gd name="T27" fmla="*/ 80 h 435"/>
                <a:gd name="T28" fmla="*/ 177 w 463"/>
                <a:gd name="T29" fmla="*/ 0 h 435"/>
                <a:gd name="T30" fmla="*/ 194 w 463"/>
                <a:gd name="T31" fmla="*/ 48 h 435"/>
                <a:gd name="T32" fmla="*/ 12 w 463"/>
                <a:gd name="T33" fmla="*/ 163 h 435"/>
                <a:gd name="T34" fmla="*/ 45 w 463"/>
                <a:gd name="T35" fmla="*/ 228 h 435"/>
                <a:gd name="T36" fmla="*/ 114 w 463"/>
                <a:gd name="T37" fmla="*/ 164 h 435"/>
                <a:gd name="T38" fmla="*/ 223 w 463"/>
                <a:gd name="T39" fmla="*/ 95 h 435"/>
                <a:gd name="T40" fmla="*/ 323 w 463"/>
                <a:gd name="T41" fmla="*/ 114 h 435"/>
                <a:gd name="T42" fmla="*/ 416 w 463"/>
                <a:gd name="T43" fmla="*/ 134 h 435"/>
                <a:gd name="T44" fmla="*/ 333 w 463"/>
                <a:gd name="T45" fmla="*/ 161 h 435"/>
                <a:gd name="T46" fmla="*/ 434 w 463"/>
                <a:gd name="T47" fmla="*/ 288 h 435"/>
                <a:gd name="T48" fmla="*/ 426 w 463"/>
                <a:gd name="T49" fmla="*/ 316 h 435"/>
                <a:gd name="T50" fmla="*/ 334 w 463"/>
                <a:gd name="T51" fmla="*/ 243 h 435"/>
                <a:gd name="T52" fmla="*/ 391 w 463"/>
                <a:gd name="T53" fmla="*/ 331 h 435"/>
                <a:gd name="T54" fmla="*/ 424 w 463"/>
                <a:gd name="T55" fmla="*/ 364 h 435"/>
                <a:gd name="T56" fmla="*/ 424 w 463"/>
                <a:gd name="T57" fmla="*/ 383 h 435"/>
                <a:gd name="T58" fmla="*/ 395 w 463"/>
                <a:gd name="T59" fmla="*/ 392 h 435"/>
                <a:gd name="T60" fmla="*/ 372 w 463"/>
                <a:gd name="T61" fmla="*/ 367 h 435"/>
                <a:gd name="T62" fmla="*/ 268 w 463"/>
                <a:gd name="T63" fmla="*/ 296 h 435"/>
                <a:gd name="T64" fmla="*/ 360 w 463"/>
                <a:gd name="T65" fmla="*/ 392 h 435"/>
                <a:gd name="T66" fmla="*/ 353 w 463"/>
                <a:gd name="T67" fmla="*/ 406 h 435"/>
                <a:gd name="T68" fmla="*/ 240 w 463"/>
                <a:gd name="T69" fmla="*/ 316 h 435"/>
                <a:gd name="T70" fmla="*/ 283 w 463"/>
                <a:gd name="T71" fmla="*/ 390 h 435"/>
                <a:gd name="T72" fmla="*/ 283 w 463"/>
                <a:gd name="T73" fmla="*/ 410 h 435"/>
                <a:gd name="T74" fmla="*/ 129 w 463"/>
                <a:gd name="T75" fmla="*/ 275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3" h="435">
                  <a:moveTo>
                    <a:pt x="79" y="195"/>
                  </a:moveTo>
                  <a:lnTo>
                    <a:pt x="79" y="195"/>
                  </a:lnTo>
                  <a:cubicBezTo>
                    <a:pt x="73" y="233"/>
                    <a:pt x="90" y="267"/>
                    <a:pt x="113" y="290"/>
                  </a:cubicBezTo>
                  <a:lnTo>
                    <a:pt x="248" y="425"/>
                  </a:lnTo>
                  <a:cubicBezTo>
                    <a:pt x="255" y="432"/>
                    <a:pt x="264" y="435"/>
                    <a:pt x="273" y="435"/>
                  </a:cubicBezTo>
                  <a:cubicBezTo>
                    <a:pt x="282" y="435"/>
                    <a:pt x="291" y="432"/>
                    <a:pt x="298" y="425"/>
                  </a:cubicBezTo>
                  <a:cubicBezTo>
                    <a:pt x="302" y="421"/>
                    <a:pt x="305" y="416"/>
                    <a:pt x="307" y="411"/>
                  </a:cubicBezTo>
                  <a:lnTo>
                    <a:pt x="318" y="422"/>
                  </a:lnTo>
                  <a:cubicBezTo>
                    <a:pt x="332" y="435"/>
                    <a:pt x="355" y="435"/>
                    <a:pt x="368" y="421"/>
                  </a:cubicBezTo>
                  <a:lnTo>
                    <a:pt x="372" y="417"/>
                  </a:lnTo>
                  <a:cubicBezTo>
                    <a:pt x="375" y="414"/>
                    <a:pt x="377" y="411"/>
                    <a:pt x="379" y="407"/>
                  </a:cubicBezTo>
                  <a:lnTo>
                    <a:pt x="380" y="408"/>
                  </a:lnTo>
                  <a:cubicBezTo>
                    <a:pt x="394" y="422"/>
                    <a:pt x="416" y="422"/>
                    <a:pt x="430" y="408"/>
                  </a:cubicBezTo>
                  <a:lnTo>
                    <a:pt x="440" y="398"/>
                  </a:lnTo>
                  <a:cubicBezTo>
                    <a:pt x="446" y="392"/>
                    <a:pt x="450" y="383"/>
                    <a:pt x="450" y="373"/>
                  </a:cubicBezTo>
                  <a:cubicBezTo>
                    <a:pt x="450" y="364"/>
                    <a:pt x="446" y="355"/>
                    <a:pt x="439" y="348"/>
                  </a:cubicBezTo>
                  <a:lnTo>
                    <a:pt x="430" y="339"/>
                  </a:lnTo>
                  <a:cubicBezTo>
                    <a:pt x="434" y="337"/>
                    <a:pt x="438" y="335"/>
                    <a:pt x="441" y="331"/>
                  </a:cubicBezTo>
                  <a:lnTo>
                    <a:pt x="449" y="323"/>
                  </a:lnTo>
                  <a:cubicBezTo>
                    <a:pt x="463" y="309"/>
                    <a:pt x="463" y="287"/>
                    <a:pt x="449" y="273"/>
                  </a:cubicBezTo>
                  <a:lnTo>
                    <a:pt x="358" y="182"/>
                  </a:lnTo>
                  <a:cubicBezTo>
                    <a:pt x="392" y="180"/>
                    <a:pt x="435" y="172"/>
                    <a:pt x="439" y="148"/>
                  </a:cubicBezTo>
                  <a:cubicBezTo>
                    <a:pt x="442" y="134"/>
                    <a:pt x="437" y="125"/>
                    <a:pt x="432" y="119"/>
                  </a:cubicBezTo>
                  <a:cubicBezTo>
                    <a:pt x="420" y="106"/>
                    <a:pt x="398" y="104"/>
                    <a:pt x="388" y="105"/>
                  </a:cubicBezTo>
                  <a:lnTo>
                    <a:pt x="388" y="105"/>
                  </a:lnTo>
                  <a:cubicBezTo>
                    <a:pt x="382" y="105"/>
                    <a:pt x="352" y="98"/>
                    <a:pt x="328" y="92"/>
                  </a:cubicBezTo>
                  <a:cubicBezTo>
                    <a:pt x="271" y="79"/>
                    <a:pt x="233" y="71"/>
                    <a:pt x="219" y="73"/>
                  </a:cubicBezTo>
                  <a:cubicBezTo>
                    <a:pt x="213" y="74"/>
                    <a:pt x="205" y="76"/>
                    <a:pt x="194" y="80"/>
                  </a:cubicBezTo>
                  <a:lnTo>
                    <a:pt x="225" y="48"/>
                  </a:lnTo>
                  <a:lnTo>
                    <a:pt x="177" y="0"/>
                  </a:lnTo>
                  <a:cubicBezTo>
                    <a:pt x="171" y="4"/>
                    <a:pt x="164" y="8"/>
                    <a:pt x="158" y="12"/>
                  </a:cubicBezTo>
                  <a:lnTo>
                    <a:pt x="194" y="48"/>
                  </a:lnTo>
                  <a:lnTo>
                    <a:pt x="45" y="197"/>
                  </a:lnTo>
                  <a:lnTo>
                    <a:pt x="12" y="163"/>
                  </a:lnTo>
                  <a:cubicBezTo>
                    <a:pt x="8" y="170"/>
                    <a:pt x="4" y="176"/>
                    <a:pt x="0" y="182"/>
                  </a:cubicBezTo>
                  <a:lnTo>
                    <a:pt x="45" y="228"/>
                  </a:lnTo>
                  <a:lnTo>
                    <a:pt x="79" y="195"/>
                  </a:lnTo>
                  <a:close/>
                  <a:moveTo>
                    <a:pt x="114" y="164"/>
                  </a:moveTo>
                  <a:lnTo>
                    <a:pt x="114" y="164"/>
                  </a:lnTo>
                  <a:cubicBezTo>
                    <a:pt x="148" y="111"/>
                    <a:pt x="210" y="97"/>
                    <a:pt x="223" y="95"/>
                  </a:cubicBezTo>
                  <a:cubicBezTo>
                    <a:pt x="223" y="95"/>
                    <a:pt x="224" y="95"/>
                    <a:pt x="225" y="95"/>
                  </a:cubicBezTo>
                  <a:cubicBezTo>
                    <a:pt x="241" y="95"/>
                    <a:pt x="292" y="107"/>
                    <a:pt x="323" y="114"/>
                  </a:cubicBezTo>
                  <a:cubicBezTo>
                    <a:pt x="366" y="124"/>
                    <a:pt x="383" y="127"/>
                    <a:pt x="390" y="127"/>
                  </a:cubicBezTo>
                  <a:cubicBezTo>
                    <a:pt x="398" y="126"/>
                    <a:pt x="411" y="129"/>
                    <a:pt x="416" y="134"/>
                  </a:cubicBezTo>
                  <a:cubicBezTo>
                    <a:pt x="417" y="136"/>
                    <a:pt x="419" y="138"/>
                    <a:pt x="418" y="144"/>
                  </a:cubicBezTo>
                  <a:cubicBezTo>
                    <a:pt x="416" y="151"/>
                    <a:pt x="378" y="161"/>
                    <a:pt x="333" y="161"/>
                  </a:cubicBezTo>
                  <a:lnTo>
                    <a:pt x="306" y="161"/>
                  </a:lnTo>
                  <a:lnTo>
                    <a:pt x="434" y="288"/>
                  </a:lnTo>
                  <a:cubicBezTo>
                    <a:pt x="439" y="294"/>
                    <a:pt x="439" y="302"/>
                    <a:pt x="434" y="308"/>
                  </a:cubicBezTo>
                  <a:lnTo>
                    <a:pt x="426" y="316"/>
                  </a:lnTo>
                  <a:cubicBezTo>
                    <a:pt x="421" y="320"/>
                    <a:pt x="413" y="321"/>
                    <a:pt x="408" y="317"/>
                  </a:cubicBezTo>
                  <a:lnTo>
                    <a:pt x="334" y="243"/>
                  </a:lnTo>
                  <a:lnTo>
                    <a:pt x="318" y="259"/>
                  </a:lnTo>
                  <a:lnTo>
                    <a:pt x="391" y="331"/>
                  </a:lnTo>
                  <a:cubicBezTo>
                    <a:pt x="392" y="332"/>
                    <a:pt x="392" y="333"/>
                    <a:pt x="393" y="333"/>
                  </a:cubicBezTo>
                  <a:lnTo>
                    <a:pt x="424" y="364"/>
                  </a:lnTo>
                  <a:cubicBezTo>
                    <a:pt x="426" y="366"/>
                    <a:pt x="428" y="370"/>
                    <a:pt x="428" y="373"/>
                  </a:cubicBezTo>
                  <a:cubicBezTo>
                    <a:pt x="428" y="377"/>
                    <a:pt x="426" y="380"/>
                    <a:pt x="424" y="383"/>
                  </a:cubicBezTo>
                  <a:lnTo>
                    <a:pt x="414" y="392"/>
                  </a:lnTo>
                  <a:cubicBezTo>
                    <a:pt x="409" y="398"/>
                    <a:pt x="401" y="398"/>
                    <a:pt x="395" y="392"/>
                  </a:cubicBezTo>
                  <a:lnTo>
                    <a:pt x="378" y="374"/>
                  </a:lnTo>
                  <a:cubicBezTo>
                    <a:pt x="376" y="372"/>
                    <a:pt x="374" y="369"/>
                    <a:pt x="372" y="367"/>
                  </a:cubicBezTo>
                  <a:lnTo>
                    <a:pt x="283" y="280"/>
                  </a:lnTo>
                  <a:lnTo>
                    <a:pt x="268" y="296"/>
                  </a:lnTo>
                  <a:lnTo>
                    <a:pt x="359" y="388"/>
                  </a:lnTo>
                  <a:cubicBezTo>
                    <a:pt x="360" y="389"/>
                    <a:pt x="360" y="391"/>
                    <a:pt x="360" y="392"/>
                  </a:cubicBezTo>
                  <a:cubicBezTo>
                    <a:pt x="360" y="396"/>
                    <a:pt x="359" y="399"/>
                    <a:pt x="356" y="402"/>
                  </a:cubicBezTo>
                  <a:lnTo>
                    <a:pt x="353" y="406"/>
                  </a:lnTo>
                  <a:cubicBezTo>
                    <a:pt x="347" y="411"/>
                    <a:pt x="339" y="411"/>
                    <a:pt x="334" y="406"/>
                  </a:cubicBezTo>
                  <a:lnTo>
                    <a:pt x="240" y="316"/>
                  </a:lnTo>
                  <a:lnTo>
                    <a:pt x="224" y="332"/>
                  </a:lnTo>
                  <a:lnTo>
                    <a:pt x="283" y="390"/>
                  </a:lnTo>
                  <a:cubicBezTo>
                    <a:pt x="285" y="393"/>
                    <a:pt x="287" y="396"/>
                    <a:pt x="287" y="400"/>
                  </a:cubicBezTo>
                  <a:cubicBezTo>
                    <a:pt x="287" y="404"/>
                    <a:pt x="285" y="407"/>
                    <a:pt x="283" y="410"/>
                  </a:cubicBezTo>
                  <a:cubicBezTo>
                    <a:pt x="277" y="415"/>
                    <a:pt x="269" y="415"/>
                    <a:pt x="264" y="409"/>
                  </a:cubicBezTo>
                  <a:lnTo>
                    <a:pt x="129" y="275"/>
                  </a:lnTo>
                  <a:cubicBezTo>
                    <a:pt x="117" y="262"/>
                    <a:pt x="79" y="218"/>
                    <a:pt x="114" y="164"/>
                  </a:cubicBez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aphicFrame>
        <p:nvGraphicFramePr>
          <p:cNvPr id="5" name="Table 5">
            <a:extLst>
              <a:ext uri="{FF2B5EF4-FFF2-40B4-BE49-F238E27FC236}">
                <a16:creationId xmlns:a16="http://schemas.microsoft.com/office/drawing/2014/main" id="{05B12918-B1E5-5BC9-BA61-AD7991E4EDFB}"/>
              </a:ext>
            </a:extLst>
          </p:cNvPr>
          <p:cNvGraphicFramePr>
            <a:graphicFrameLocks noGrp="1"/>
          </p:cNvGraphicFramePr>
          <p:nvPr>
            <p:extLst>
              <p:ext uri="{D42A27DB-BD31-4B8C-83A1-F6EECF244321}">
                <p14:modId xmlns:p14="http://schemas.microsoft.com/office/powerpoint/2010/main" val="1647749321"/>
              </p:ext>
            </p:extLst>
          </p:nvPr>
        </p:nvGraphicFramePr>
        <p:xfrm>
          <a:off x="142015" y="2302652"/>
          <a:ext cx="7718794" cy="3977640"/>
        </p:xfrm>
        <a:graphic>
          <a:graphicData uri="http://schemas.openxmlformats.org/drawingml/2006/table">
            <a:tbl>
              <a:tblPr firstRow="1" bandRow="1">
                <a:tableStyleId>{5C22544A-7EE6-4342-B048-85BDC9FD1C3A}</a:tableStyleId>
              </a:tblPr>
              <a:tblGrid>
                <a:gridCol w="1625600">
                  <a:extLst>
                    <a:ext uri="{9D8B030D-6E8A-4147-A177-3AD203B41FA5}">
                      <a16:colId xmlns:a16="http://schemas.microsoft.com/office/drawing/2014/main" val="62498959"/>
                    </a:ext>
                  </a:extLst>
                </a:gridCol>
                <a:gridCol w="1625600">
                  <a:extLst>
                    <a:ext uri="{9D8B030D-6E8A-4147-A177-3AD203B41FA5}">
                      <a16:colId xmlns:a16="http://schemas.microsoft.com/office/drawing/2014/main" val="2276420613"/>
                    </a:ext>
                  </a:extLst>
                </a:gridCol>
                <a:gridCol w="1239215">
                  <a:extLst>
                    <a:ext uri="{9D8B030D-6E8A-4147-A177-3AD203B41FA5}">
                      <a16:colId xmlns:a16="http://schemas.microsoft.com/office/drawing/2014/main" val="300457102"/>
                    </a:ext>
                  </a:extLst>
                </a:gridCol>
                <a:gridCol w="1470112">
                  <a:extLst>
                    <a:ext uri="{9D8B030D-6E8A-4147-A177-3AD203B41FA5}">
                      <a16:colId xmlns:a16="http://schemas.microsoft.com/office/drawing/2014/main" val="2750018064"/>
                    </a:ext>
                  </a:extLst>
                </a:gridCol>
                <a:gridCol w="1758267">
                  <a:extLst>
                    <a:ext uri="{9D8B030D-6E8A-4147-A177-3AD203B41FA5}">
                      <a16:colId xmlns:a16="http://schemas.microsoft.com/office/drawing/2014/main" val="1337410994"/>
                    </a:ext>
                  </a:extLst>
                </a:gridCol>
              </a:tblGrid>
              <a:tr h="370840">
                <a:tc>
                  <a:txBody>
                    <a:bodyPr/>
                    <a:lstStyle/>
                    <a:p>
                      <a:pPr algn="ctr"/>
                      <a:endParaRPr lang="en-GB"/>
                    </a:p>
                  </a:txBody>
                  <a:tcPr/>
                </a:tc>
                <a:tc>
                  <a:txBody>
                    <a:bodyPr/>
                    <a:lstStyle/>
                    <a:p>
                      <a:pPr algn="ctr"/>
                      <a:r>
                        <a:rPr lang="en-GB"/>
                        <a:t>In-source</a:t>
                      </a:r>
                    </a:p>
                  </a:txBody>
                  <a:tcPr/>
                </a:tc>
                <a:tc>
                  <a:txBody>
                    <a:bodyPr/>
                    <a:lstStyle/>
                    <a:p>
                      <a:pPr algn="ctr"/>
                      <a:r>
                        <a:rPr lang="en-GB"/>
                        <a:t>Outsource</a:t>
                      </a:r>
                    </a:p>
                  </a:txBody>
                  <a:tcPr/>
                </a:tc>
                <a:tc>
                  <a:txBody>
                    <a:bodyPr/>
                    <a:lstStyle/>
                    <a:p>
                      <a:pPr algn="ctr"/>
                      <a:r>
                        <a:rPr lang="en-GB"/>
                        <a:t>National partners</a:t>
                      </a:r>
                    </a:p>
                  </a:txBody>
                  <a:tcPr/>
                </a:tc>
                <a:tc>
                  <a:txBody>
                    <a:bodyPr/>
                    <a:lstStyle/>
                    <a:p>
                      <a:pPr algn="ctr"/>
                      <a:r>
                        <a:rPr lang="en-GB"/>
                        <a:t>International partners</a:t>
                      </a:r>
                    </a:p>
                  </a:txBody>
                  <a:tcPr/>
                </a:tc>
                <a:extLst>
                  <a:ext uri="{0D108BD9-81ED-4DB2-BD59-A6C34878D82A}">
                    <a16:rowId xmlns:a16="http://schemas.microsoft.com/office/drawing/2014/main" val="2133649453"/>
                  </a:ext>
                </a:extLst>
              </a:tr>
              <a:tr h="370840">
                <a:tc>
                  <a:txBody>
                    <a:bodyPr/>
                    <a:lstStyle/>
                    <a:p>
                      <a:pPr algn="ctr"/>
                      <a:r>
                        <a:rPr lang="en-GB"/>
                        <a:t>Botswana</a:t>
                      </a:r>
                    </a:p>
                  </a:txBody>
                  <a:tcPr/>
                </a:tc>
                <a:tc>
                  <a:txBody>
                    <a:bodyPr/>
                    <a:lstStyle/>
                    <a:p>
                      <a:pPr algn="ctr"/>
                      <a:r>
                        <a:rPr lang="en-GB"/>
                        <a:t>X</a:t>
                      </a:r>
                    </a:p>
                  </a:txBody>
                  <a:tcPr/>
                </a:tc>
                <a:tc>
                  <a:txBody>
                    <a:bodyPr/>
                    <a:lstStyle/>
                    <a:p>
                      <a:pPr algn="ctr"/>
                      <a:endParaRPr lang="en-GB"/>
                    </a:p>
                  </a:txBody>
                  <a:tcPr/>
                </a:tc>
                <a:tc>
                  <a:txBody>
                    <a:bodyPr/>
                    <a:lstStyle/>
                    <a:p>
                      <a:pPr algn="ctr"/>
                      <a:r>
                        <a:rPr lang="en-GB"/>
                        <a:t>X</a:t>
                      </a:r>
                    </a:p>
                  </a:txBody>
                  <a:tcPr/>
                </a:tc>
                <a:tc>
                  <a:txBody>
                    <a:bodyPr/>
                    <a:lstStyle/>
                    <a:p>
                      <a:pPr algn="ctr"/>
                      <a:endParaRPr lang="en-GB"/>
                    </a:p>
                  </a:txBody>
                  <a:tcPr/>
                </a:tc>
                <a:extLst>
                  <a:ext uri="{0D108BD9-81ED-4DB2-BD59-A6C34878D82A}">
                    <a16:rowId xmlns:a16="http://schemas.microsoft.com/office/drawing/2014/main" val="2607652604"/>
                  </a:ext>
                </a:extLst>
              </a:tr>
              <a:tr h="370840">
                <a:tc>
                  <a:txBody>
                    <a:bodyPr/>
                    <a:lstStyle/>
                    <a:p>
                      <a:pPr algn="ctr"/>
                      <a:r>
                        <a:rPr lang="en-GB"/>
                        <a:t>Egypt</a:t>
                      </a:r>
                    </a:p>
                  </a:txBody>
                  <a:tcPr/>
                </a:tc>
                <a:tc gridSpan="2">
                  <a:txBody>
                    <a:bodyPr/>
                    <a:lstStyle/>
                    <a:p>
                      <a:pPr algn="ctr"/>
                      <a:r>
                        <a:rPr lang="en-GB">
                          <a:sym typeface="Wingdings" pitchFamily="2" charset="2"/>
                        </a:rPr>
                        <a:t></a:t>
                      </a:r>
                    </a:p>
                  </a:txBody>
                  <a:tcPr/>
                </a:tc>
                <a:tc hMerge="1">
                  <a:txBody>
                    <a:bodyPr/>
                    <a:lstStyle/>
                    <a:p>
                      <a:pPr algn="ctr"/>
                      <a:endParaRPr lang="en-GB"/>
                    </a:p>
                  </a:txBody>
                  <a:tcPr/>
                </a:tc>
                <a:tc>
                  <a:txBody>
                    <a:bodyPr/>
                    <a:lstStyle/>
                    <a:p>
                      <a:pPr algn="ctr"/>
                      <a:endParaRPr lang="en-GB"/>
                    </a:p>
                  </a:txBody>
                  <a:tcPr/>
                </a:tc>
                <a:tc>
                  <a:txBody>
                    <a:bodyPr/>
                    <a:lstStyle/>
                    <a:p>
                      <a:pPr algn="ctr"/>
                      <a:r>
                        <a:rPr lang="en-GB"/>
                        <a:t>X</a:t>
                      </a:r>
                    </a:p>
                  </a:txBody>
                  <a:tcPr/>
                </a:tc>
                <a:extLst>
                  <a:ext uri="{0D108BD9-81ED-4DB2-BD59-A6C34878D82A}">
                    <a16:rowId xmlns:a16="http://schemas.microsoft.com/office/drawing/2014/main" val="1588433012"/>
                  </a:ext>
                </a:extLst>
              </a:tr>
              <a:tr h="370840">
                <a:tc>
                  <a:txBody>
                    <a:bodyPr/>
                    <a:lstStyle/>
                    <a:p>
                      <a:pPr algn="ctr"/>
                      <a:r>
                        <a:rPr lang="en-GB"/>
                        <a:t>Eswatini</a:t>
                      </a:r>
                    </a:p>
                  </a:txBody>
                  <a:tcPr/>
                </a:tc>
                <a:tc>
                  <a:txBody>
                    <a:bodyPr/>
                    <a:lstStyle/>
                    <a:p>
                      <a:pPr algn="ctr"/>
                      <a:r>
                        <a:rPr lang="en-GB"/>
                        <a:t>X</a:t>
                      </a:r>
                    </a:p>
                  </a:txBody>
                  <a:tcPr/>
                </a:tc>
                <a:tc>
                  <a:txBody>
                    <a:bodyPr/>
                    <a:lstStyle/>
                    <a:p>
                      <a:pPr algn="ctr"/>
                      <a:endParaRPr lang="en-GB"/>
                    </a:p>
                  </a:txBody>
                  <a:tcPr/>
                </a:tc>
                <a:tc>
                  <a:txBody>
                    <a:bodyPr/>
                    <a:lstStyle/>
                    <a:p>
                      <a:pPr algn="ctr"/>
                      <a:endParaRPr lang="en-GB"/>
                    </a:p>
                  </a:txBody>
                  <a:tcPr/>
                </a:tc>
                <a:tc>
                  <a:txBody>
                    <a:bodyPr/>
                    <a:lstStyle/>
                    <a:p>
                      <a:pPr algn="ctr"/>
                      <a:r>
                        <a:rPr lang="en-GB"/>
                        <a:t>X</a:t>
                      </a:r>
                    </a:p>
                  </a:txBody>
                  <a:tcPr/>
                </a:tc>
                <a:extLst>
                  <a:ext uri="{0D108BD9-81ED-4DB2-BD59-A6C34878D82A}">
                    <a16:rowId xmlns:a16="http://schemas.microsoft.com/office/drawing/2014/main" val="395008725"/>
                  </a:ext>
                </a:extLst>
              </a:tr>
              <a:tr h="370840">
                <a:tc>
                  <a:txBody>
                    <a:bodyPr/>
                    <a:lstStyle/>
                    <a:p>
                      <a:pPr algn="ctr"/>
                      <a:r>
                        <a:rPr lang="en-GB"/>
                        <a:t>Ghana</a:t>
                      </a:r>
                    </a:p>
                  </a:txBody>
                  <a:tcPr/>
                </a:tc>
                <a:tc>
                  <a:txBody>
                    <a:bodyPr/>
                    <a:lstStyle/>
                    <a:p>
                      <a:pPr algn="ctr"/>
                      <a:r>
                        <a:rPr lang="en-GB"/>
                        <a:t>X</a:t>
                      </a:r>
                    </a:p>
                  </a:txBody>
                  <a:tcPr/>
                </a:tc>
                <a:tc>
                  <a:txBody>
                    <a:bodyPr/>
                    <a:lstStyle/>
                    <a:p>
                      <a:pPr algn="ctr"/>
                      <a:endParaRPr lang="en-GB"/>
                    </a:p>
                  </a:txBody>
                  <a:tcPr/>
                </a:tc>
                <a:tc>
                  <a:txBody>
                    <a:bodyPr/>
                    <a:lstStyle/>
                    <a:p>
                      <a:pPr algn="ctr"/>
                      <a:r>
                        <a:rPr lang="en-GB"/>
                        <a:t>X</a:t>
                      </a:r>
                    </a:p>
                  </a:txBody>
                  <a:tcPr/>
                </a:tc>
                <a:tc>
                  <a:txBody>
                    <a:bodyPr/>
                    <a:lstStyle/>
                    <a:p>
                      <a:pPr algn="ctr"/>
                      <a:r>
                        <a:rPr lang="en-GB"/>
                        <a:t>X</a:t>
                      </a:r>
                    </a:p>
                  </a:txBody>
                  <a:tcPr/>
                </a:tc>
                <a:extLst>
                  <a:ext uri="{0D108BD9-81ED-4DB2-BD59-A6C34878D82A}">
                    <a16:rowId xmlns:a16="http://schemas.microsoft.com/office/drawing/2014/main" val="1242086312"/>
                  </a:ext>
                </a:extLst>
              </a:tr>
              <a:tr h="370840">
                <a:tc>
                  <a:txBody>
                    <a:bodyPr/>
                    <a:lstStyle/>
                    <a:p>
                      <a:pPr algn="ctr"/>
                      <a:r>
                        <a:rPr lang="en-GB"/>
                        <a:t>Kenya</a:t>
                      </a:r>
                    </a:p>
                  </a:txBody>
                  <a:tcPr/>
                </a:tc>
                <a:tc>
                  <a:txBody>
                    <a:bodyPr/>
                    <a:lstStyle/>
                    <a:p>
                      <a:pPr algn="ctr"/>
                      <a:r>
                        <a:rPr lang="en-GB"/>
                        <a:t>X</a:t>
                      </a:r>
                    </a:p>
                  </a:txBody>
                  <a:tcPr/>
                </a:tc>
                <a:tc>
                  <a:txBody>
                    <a:bodyPr/>
                    <a:lstStyle/>
                    <a:p>
                      <a:pPr algn="ctr"/>
                      <a:endParaRPr lang="en-GB"/>
                    </a:p>
                  </a:txBody>
                  <a:tcPr/>
                </a:tc>
                <a:tc>
                  <a:txBody>
                    <a:bodyPr/>
                    <a:lstStyle/>
                    <a:p>
                      <a:pPr algn="ctr"/>
                      <a:r>
                        <a:rPr lang="en-GB"/>
                        <a:t>X</a:t>
                      </a:r>
                    </a:p>
                  </a:txBody>
                  <a:tcPr/>
                </a:tc>
                <a:tc>
                  <a:txBody>
                    <a:bodyPr/>
                    <a:lstStyle/>
                    <a:p>
                      <a:pPr algn="ctr"/>
                      <a:endParaRPr lang="en-GB"/>
                    </a:p>
                  </a:txBody>
                  <a:tcPr/>
                </a:tc>
                <a:extLst>
                  <a:ext uri="{0D108BD9-81ED-4DB2-BD59-A6C34878D82A}">
                    <a16:rowId xmlns:a16="http://schemas.microsoft.com/office/drawing/2014/main" val="2208662116"/>
                  </a:ext>
                </a:extLst>
              </a:tr>
              <a:tr h="370840">
                <a:tc>
                  <a:txBody>
                    <a:bodyPr/>
                    <a:lstStyle/>
                    <a:p>
                      <a:pPr algn="ctr"/>
                      <a:r>
                        <a:rPr lang="en-GB"/>
                        <a:t>Morocco</a:t>
                      </a:r>
                    </a:p>
                  </a:txBody>
                  <a:tcPr/>
                </a:tc>
                <a:tc>
                  <a:txBody>
                    <a:bodyPr/>
                    <a:lstStyle/>
                    <a:p>
                      <a:pPr algn="ctr"/>
                      <a:r>
                        <a:rPr lang="en-GB"/>
                        <a:t>?</a:t>
                      </a:r>
                    </a:p>
                  </a:txBody>
                  <a:tcPr/>
                </a:tc>
                <a:tc>
                  <a:txBody>
                    <a:bodyPr/>
                    <a:lstStyle/>
                    <a:p>
                      <a:pPr algn="ctr"/>
                      <a:endParaRPr lang="en-GB"/>
                    </a:p>
                  </a:txBody>
                  <a:tcPr/>
                </a:tc>
                <a:tc>
                  <a:txBody>
                    <a:bodyPr/>
                    <a:lstStyle/>
                    <a:p>
                      <a:pPr algn="ctr"/>
                      <a:endParaRPr lang="en-GB"/>
                    </a:p>
                  </a:txBody>
                  <a:tcPr/>
                </a:tc>
                <a:tc>
                  <a:txBody>
                    <a:bodyPr/>
                    <a:lstStyle/>
                    <a:p>
                      <a:pPr algn="ctr"/>
                      <a:r>
                        <a:rPr lang="en-GB"/>
                        <a:t>X</a:t>
                      </a:r>
                    </a:p>
                  </a:txBody>
                  <a:tcPr/>
                </a:tc>
                <a:extLst>
                  <a:ext uri="{0D108BD9-81ED-4DB2-BD59-A6C34878D82A}">
                    <a16:rowId xmlns:a16="http://schemas.microsoft.com/office/drawing/2014/main" val="999127000"/>
                  </a:ext>
                </a:extLst>
              </a:tr>
              <a:tr h="370840">
                <a:tc>
                  <a:txBody>
                    <a:bodyPr/>
                    <a:lstStyle/>
                    <a:p>
                      <a:pPr algn="ctr"/>
                      <a:r>
                        <a:rPr lang="en-GB"/>
                        <a:t>Nigeria</a:t>
                      </a:r>
                    </a:p>
                  </a:txBody>
                  <a:tcPr/>
                </a:tc>
                <a:tc>
                  <a:txBody>
                    <a:bodyPr/>
                    <a:lstStyle/>
                    <a:p>
                      <a:pPr algn="ctr"/>
                      <a:r>
                        <a:rPr lang="en-GB"/>
                        <a:t>X</a:t>
                      </a:r>
                    </a:p>
                  </a:txBody>
                  <a:tcPr/>
                </a:tc>
                <a:tc>
                  <a:txBody>
                    <a:bodyPr/>
                    <a:lstStyle/>
                    <a:p>
                      <a:pPr algn="ctr"/>
                      <a:endParaRPr lang="en-GB"/>
                    </a:p>
                  </a:txBody>
                  <a:tcPr/>
                </a:tc>
                <a:tc>
                  <a:txBody>
                    <a:bodyPr/>
                    <a:lstStyle/>
                    <a:p>
                      <a:pPr algn="ctr"/>
                      <a:endParaRPr lang="en-GB"/>
                    </a:p>
                  </a:txBody>
                  <a:tcPr/>
                </a:tc>
                <a:tc>
                  <a:txBody>
                    <a:bodyPr/>
                    <a:lstStyle/>
                    <a:p>
                      <a:pPr algn="ctr"/>
                      <a:r>
                        <a:rPr lang="en-GB"/>
                        <a:t>X</a:t>
                      </a:r>
                    </a:p>
                  </a:txBody>
                  <a:tcPr/>
                </a:tc>
                <a:extLst>
                  <a:ext uri="{0D108BD9-81ED-4DB2-BD59-A6C34878D82A}">
                    <a16:rowId xmlns:a16="http://schemas.microsoft.com/office/drawing/2014/main" val="3804703722"/>
                  </a:ext>
                </a:extLst>
              </a:tr>
              <a:tr h="370840">
                <a:tc>
                  <a:txBody>
                    <a:bodyPr/>
                    <a:lstStyle/>
                    <a:p>
                      <a:pPr algn="ctr"/>
                      <a:r>
                        <a:rPr lang="en-GB"/>
                        <a:t>South Africa</a:t>
                      </a:r>
                    </a:p>
                  </a:txBody>
                  <a:tcPr/>
                </a:tc>
                <a:tc gridSpan="2">
                  <a:txBody>
                    <a:bodyPr/>
                    <a:lstStyle/>
                    <a:p>
                      <a:pPr algn="ctr"/>
                      <a:r>
                        <a:rPr lang="en-GB"/>
                        <a:t>X</a:t>
                      </a:r>
                    </a:p>
                  </a:txBody>
                  <a:tcPr/>
                </a:tc>
                <a:tc hMerge="1">
                  <a:txBody>
                    <a:bodyPr/>
                    <a:lstStyle/>
                    <a:p>
                      <a:pPr algn="ctr"/>
                      <a:endParaRPr lang="en-GB"/>
                    </a:p>
                  </a:txBody>
                  <a:tcPr/>
                </a:tc>
                <a:tc>
                  <a:txBody>
                    <a:bodyPr/>
                    <a:lstStyle/>
                    <a:p>
                      <a:pPr algn="ctr"/>
                      <a:r>
                        <a:rPr lang="en-GB"/>
                        <a:t>X</a:t>
                      </a:r>
                    </a:p>
                  </a:txBody>
                  <a:tcPr/>
                </a:tc>
                <a:tc>
                  <a:txBody>
                    <a:bodyPr/>
                    <a:lstStyle/>
                    <a:p>
                      <a:pPr algn="ctr"/>
                      <a:endParaRPr lang="en-GB"/>
                    </a:p>
                  </a:txBody>
                  <a:tcPr/>
                </a:tc>
                <a:extLst>
                  <a:ext uri="{0D108BD9-81ED-4DB2-BD59-A6C34878D82A}">
                    <a16:rowId xmlns:a16="http://schemas.microsoft.com/office/drawing/2014/main" val="1895503365"/>
                  </a:ext>
                </a:extLst>
              </a:tr>
              <a:tr h="370840">
                <a:tc>
                  <a:txBody>
                    <a:bodyPr/>
                    <a:lstStyle/>
                    <a:p>
                      <a:pPr algn="ctr"/>
                      <a:r>
                        <a:rPr lang="en-GB"/>
                        <a:t>Tunisia</a:t>
                      </a:r>
                    </a:p>
                  </a:txBody>
                  <a:tcPr/>
                </a:tc>
                <a:tc>
                  <a:txBody>
                    <a:bodyPr/>
                    <a:lstStyle/>
                    <a:p>
                      <a:pPr algn="ctr"/>
                      <a:r>
                        <a:rPr lang="en-GB"/>
                        <a:t>X</a:t>
                      </a:r>
                    </a:p>
                  </a:txBody>
                  <a:tcPr/>
                </a:tc>
                <a:tc>
                  <a:txBody>
                    <a:bodyPr/>
                    <a:lstStyle/>
                    <a:p>
                      <a:pPr algn="ctr"/>
                      <a:endParaRPr lang="en-GB"/>
                    </a:p>
                  </a:txBody>
                  <a:tcPr/>
                </a:tc>
                <a:tc>
                  <a:txBody>
                    <a:bodyPr/>
                    <a:lstStyle/>
                    <a:p>
                      <a:pPr algn="ctr"/>
                      <a:endParaRPr lang="en-GB"/>
                    </a:p>
                  </a:txBody>
                  <a:tcPr/>
                </a:tc>
                <a:tc>
                  <a:txBody>
                    <a:bodyPr/>
                    <a:lstStyle/>
                    <a:p>
                      <a:pPr algn="ctr"/>
                      <a:r>
                        <a:rPr lang="en-GB"/>
                        <a:t>X</a:t>
                      </a:r>
                    </a:p>
                  </a:txBody>
                  <a:tcPr/>
                </a:tc>
                <a:extLst>
                  <a:ext uri="{0D108BD9-81ED-4DB2-BD59-A6C34878D82A}">
                    <a16:rowId xmlns:a16="http://schemas.microsoft.com/office/drawing/2014/main" val="2889806059"/>
                  </a:ext>
                </a:extLst>
              </a:tr>
            </a:tbl>
          </a:graphicData>
        </a:graphic>
      </p:graphicFrame>
      <p:sp>
        <p:nvSpPr>
          <p:cNvPr id="6" name="TextBox 5">
            <a:extLst>
              <a:ext uri="{FF2B5EF4-FFF2-40B4-BE49-F238E27FC236}">
                <a16:creationId xmlns:a16="http://schemas.microsoft.com/office/drawing/2014/main" id="{DA0B57F1-74AF-426F-ED09-D10283E94C76}"/>
              </a:ext>
            </a:extLst>
          </p:cNvPr>
          <p:cNvSpPr txBox="1"/>
          <p:nvPr/>
        </p:nvSpPr>
        <p:spPr>
          <a:xfrm>
            <a:off x="8098247" y="1903624"/>
            <a:ext cx="3823397" cy="4585871"/>
          </a:xfrm>
          <a:prstGeom prst="rect">
            <a:avLst/>
          </a:prstGeom>
          <a:noFill/>
          <a:ln>
            <a:noFill/>
          </a:ln>
        </p:spPr>
        <p:txBody>
          <a:bodyPr wrap="square" rtlCol="0">
            <a:spAutoFit/>
          </a:bodyPr>
          <a:lstStyle/>
          <a:p>
            <a:r>
              <a:rPr lang="en-US" sz="2000" b="1">
                <a:solidFill>
                  <a:srgbClr val="DD7538"/>
                </a:solidFill>
                <a:latin typeface="Calibri" panose="020F0502020204030204" pitchFamily="34" charset="0"/>
                <a:ea typeface="Calibri" panose="020F0502020204030204" pitchFamily="34" charset="0"/>
                <a:cs typeface="Calibri" panose="020F0502020204030204" pitchFamily="34" charset="0"/>
              </a:rPr>
              <a:t>Strengthening capacity for mid- to long-term energy planning</a:t>
            </a:r>
          </a:p>
          <a:p>
            <a:pPr marL="285750" indent="-285750">
              <a:buFont typeface="Arial" panose="020B0604020202020204" pitchFamily="34" charset="0"/>
              <a:buChar char="•"/>
            </a:pPr>
            <a:r>
              <a:rPr lang="en-US">
                <a:solidFill>
                  <a:srgbClr val="DD7538"/>
                </a:solidFill>
                <a:latin typeface="Calibri" panose="020F0502020204030204" pitchFamily="34" charset="0"/>
                <a:ea typeface="Calibri" panose="020F0502020204030204" pitchFamily="34" charset="0"/>
                <a:cs typeface="Calibri" panose="020F0502020204030204" pitchFamily="34" charset="0"/>
              </a:rPr>
              <a:t>Countries have partnered with international </a:t>
            </a:r>
            <a:r>
              <a:rPr lang="en-US" err="1">
                <a:solidFill>
                  <a:srgbClr val="DD7538"/>
                </a:solidFill>
                <a:latin typeface="Calibri" panose="020F0502020204030204" pitchFamily="34" charset="0"/>
                <a:ea typeface="Calibri" panose="020F0502020204030204" pitchFamily="34" charset="0"/>
                <a:cs typeface="Calibri" panose="020F0502020204030204" pitchFamily="34" charset="0"/>
              </a:rPr>
              <a:t>organisations</a:t>
            </a:r>
            <a:r>
              <a:rPr lang="en-US">
                <a:solidFill>
                  <a:srgbClr val="DD7538"/>
                </a:solidFill>
                <a:latin typeface="Calibri" panose="020F0502020204030204" pitchFamily="34" charset="0"/>
                <a:ea typeface="Calibri" panose="020F0502020204030204" pitchFamily="34" charset="0"/>
                <a:cs typeface="Calibri" panose="020F0502020204030204" pitchFamily="34" charset="0"/>
              </a:rPr>
              <a:t> and the private sector to strengthen their capacity for energy planning</a:t>
            </a:r>
          </a:p>
          <a:p>
            <a:pPr marL="285750" indent="-285750">
              <a:buFont typeface="Arial" panose="020B0604020202020204" pitchFamily="34" charset="0"/>
              <a:buChar char="•"/>
            </a:pPr>
            <a:endParaRPr lang="en-US">
              <a:solidFill>
                <a:srgbClr val="DD7538"/>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a:solidFill>
                  <a:srgbClr val="DD7538"/>
                </a:solidFill>
                <a:latin typeface="Calibri" panose="020F0502020204030204" pitchFamily="34" charset="0"/>
                <a:ea typeface="Calibri" panose="020F0502020204030204" pitchFamily="34" charset="0"/>
                <a:cs typeface="Calibri" panose="020F0502020204030204" pitchFamily="34" charset="0"/>
              </a:rPr>
              <a:t>Countries secure financial resources and technical assistance through international partnerships</a:t>
            </a:r>
          </a:p>
          <a:p>
            <a:pPr marL="285750" indent="-285750">
              <a:buFont typeface="Arial" panose="020B0604020202020204" pitchFamily="34" charset="0"/>
              <a:buChar char="•"/>
            </a:pPr>
            <a:endParaRPr lang="en-US">
              <a:solidFill>
                <a:srgbClr val="DD7538"/>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a:solidFill>
                  <a:srgbClr val="DD7538"/>
                </a:solidFill>
                <a:latin typeface="Calibri" panose="020F0502020204030204" pitchFamily="34" charset="0"/>
                <a:ea typeface="Calibri" panose="020F0502020204030204" pitchFamily="34" charset="0"/>
                <a:cs typeface="Calibri" panose="020F0502020204030204" pitchFamily="34" charset="0"/>
              </a:rPr>
              <a:t>Kenya, EAPP, WAPP and Med-TSO work in close collaboration with consultants to ensure their skill sets are transferred to government institutions</a:t>
            </a:r>
          </a:p>
        </p:txBody>
      </p:sp>
      <p:pic>
        <p:nvPicPr>
          <p:cNvPr id="7" name="Picture 6">
            <a:extLst>
              <a:ext uri="{FF2B5EF4-FFF2-40B4-BE49-F238E27FC236}">
                <a16:creationId xmlns:a16="http://schemas.microsoft.com/office/drawing/2014/main" id="{DAFDE2A2-1A43-21C0-EED2-6F944C66E4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53501" y="-98158"/>
            <a:ext cx="2050431" cy="76731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06C29945-065C-728A-D2F6-F8633FEBFADF}"/>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8383524" y="57008"/>
            <a:ext cx="1626422" cy="484188"/>
          </a:xfrm>
          <a:prstGeom prst="rect">
            <a:avLst/>
          </a:prstGeom>
          <a:noFill/>
        </p:spPr>
      </p:pic>
    </p:spTree>
    <p:extLst>
      <p:ext uri="{BB962C8B-B14F-4D97-AF65-F5344CB8AC3E}">
        <p14:creationId xmlns:p14="http://schemas.microsoft.com/office/powerpoint/2010/main" val="24589547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8B4DE2-9B3B-B281-1D07-BDA520652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63705" y="-98159"/>
            <a:ext cx="2640228" cy="9880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9999943-20E5-9FB5-2D93-4324138D6615}"/>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7262037" y="36358"/>
            <a:ext cx="2094255" cy="718991"/>
          </a:xfrm>
          <a:prstGeom prst="rect">
            <a:avLst/>
          </a:prstGeom>
          <a:noFill/>
        </p:spPr>
      </p:pic>
      <p:pic>
        <p:nvPicPr>
          <p:cNvPr id="1026" name="Picture 2" descr="Africa Animals Map">
            <a:extLst>
              <a:ext uri="{FF2B5EF4-FFF2-40B4-BE49-F238E27FC236}">
                <a16:creationId xmlns:a16="http://schemas.microsoft.com/office/drawing/2014/main" id="{603D6CEE-DAB5-0C29-DF87-39034FA8AE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5365" y="1252095"/>
            <a:ext cx="3594003" cy="3825103"/>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D929DF55-7F2C-3FC7-BE32-CC8CABFCA60B}"/>
              </a:ext>
            </a:extLst>
          </p:cNvPr>
          <p:cNvGrpSpPr/>
          <p:nvPr/>
        </p:nvGrpSpPr>
        <p:grpSpPr>
          <a:xfrm>
            <a:off x="6987746" y="1142062"/>
            <a:ext cx="4543158" cy="1015663"/>
            <a:chOff x="6913605" y="1238262"/>
            <a:chExt cx="4046838" cy="1015663"/>
          </a:xfrm>
          <a:solidFill>
            <a:srgbClr val="54A3AE"/>
          </a:solidFill>
        </p:grpSpPr>
        <p:sp>
          <p:nvSpPr>
            <p:cNvPr id="28" name="Arrow: Left 27">
              <a:extLst>
                <a:ext uri="{FF2B5EF4-FFF2-40B4-BE49-F238E27FC236}">
                  <a16:creationId xmlns:a16="http://schemas.microsoft.com/office/drawing/2014/main" id="{9A707D82-D42E-A249-1549-CBFC1E965243}"/>
                </a:ext>
              </a:extLst>
            </p:cNvPr>
            <p:cNvSpPr/>
            <p:nvPr/>
          </p:nvSpPr>
          <p:spPr>
            <a:xfrm>
              <a:off x="6913605" y="1631091"/>
              <a:ext cx="1031790" cy="182880"/>
            </a:xfrm>
            <a:prstGeom prst="lef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2B9600C8-410A-F668-4994-294B9C0C334B}"/>
                </a:ext>
              </a:extLst>
            </p:cNvPr>
            <p:cNvSpPr txBox="1"/>
            <p:nvPr/>
          </p:nvSpPr>
          <p:spPr>
            <a:xfrm>
              <a:off x="7945395" y="1238262"/>
              <a:ext cx="3015048" cy="1015663"/>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Egypt</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 Communicate LTES through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workshops and media</a:t>
              </a:r>
              <a:endParaRPr lang="en-GB" sz="2000" b="1">
                <a:solidFill>
                  <a:schemeClr val="accent4">
                    <a:lumMod val="60000"/>
                    <a:lumOff val="40000"/>
                  </a:schemeClr>
                </a:solidFill>
              </a:endParaRPr>
            </a:p>
          </p:txBody>
        </p:sp>
      </p:grpSp>
      <p:grpSp>
        <p:nvGrpSpPr>
          <p:cNvPr id="34" name="Group 33">
            <a:extLst>
              <a:ext uri="{FF2B5EF4-FFF2-40B4-BE49-F238E27FC236}">
                <a16:creationId xmlns:a16="http://schemas.microsoft.com/office/drawing/2014/main" id="{0BE0959A-2D93-74D4-1CA3-082EAC48E16D}"/>
              </a:ext>
            </a:extLst>
          </p:cNvPr>
          <p:cNvGrpSpPr/>
          <p:nvPr/>
        </p:nvGrpSpPr>
        <p:grpSpPr>
          <a:xfrm>
            <a:off x="7464711" y="2780902"/>
            <a:ext cx="4674433" cy="1938992"/>
            <a:chOff x="6913605" y="1238262"/>
            <a:chExt cx="4046838" cy="1938992"/>
          </a:xfrm>
          <a:solidFill>
            <a:srgbClr val="54A3AE"/>
          </a:solidFill>
        </p:grpSpPr>
        <p:sp>
          <p:nvSpPr>
            <p:cNvPr id="35" name="Arrow: Left 34">
              <a:extLst>
                <a:ext uri="{FF2B5EF4-FFF2-40B4-BE49-F238E27FC236}">
                  <a16:creationId xmlns:a16="http://schemas.microsoft.com/office/drawing/2014/main" id="{801A316D-35C1-A81A-0549-26E4B2A5777F}"/>
                </a:ext>
              </a:extLst>
            </p:cNvPr>
            <p:cNvSpPr/>
            <p:nvPr/>
          </p:nvSpPr>
          <p:spPr>
            <a:xfrm>
              <a:off x="6913605" y="1631091"/>
              <a:ext cx="1031790" cy="182880"/>
            </a:xfrm>
            <a:prstGeom prst="lef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latin typeface="Calibri" panose="020F0502020204030204" pitchFamily="34" charset="0"/>
                <a:ea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ACFCB0F2-2287-8056-645D-0104E69E25AA}"/>
                </a:ext>
              </a:extLst>
            </p:cNvPr>
            <p:cNvSpPr txBox="1"/>
            <p:nvPr/>
          </p:nvSpPr>
          <p:spPr>
            <a:xfrm>
              <a:off x="7945395" y="1238262"/>
              <a:ext cx="3015048" cy="1938992"/>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Keny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 LTES Inform power sector optimization to </a:t>
              </a:r>
              <a:r>
                <a:rPr lang="en-US" sz="2000" b="1" err="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minimise</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 risk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and deployment of renewables</a:t>
              </a:r>
            </a:p>
            <a:p>
              <a:pPr algn="ctr"/>
              <a:endParaRPr lang="en-US" sz="2000">
                <a:solidFill>
                  <a:schemeClr val="bg1"/>
                </a:solidFill>
                <a:latin typeface="Calibri" panose="020F0502020204030204" pitchFamily="34" charset="0"/>
                <a:ea typeface="Calibri" panose="020F0502020204030204" pitchFamily="34" charset="0"/>
                <a:cs typeface="Calibri" panose="020F0502020204030204" pitchFamily="34" charset="0"/>
              </a:endParaRP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 Targeted stakeholder outreach</a:t>
              </a:r>
              <a:endParaRPr lang="en-GB" sz="20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9" name="Group 8">
            <a:extLst>
              <a:ext uri="{FF2B5EF4-FFF2-40B4-BE49-F238E27FC236}">
                <a16:creationId xmlns:a16="http://schemas.microsoft.com/office/drawing/2014/main" id="{FB7BC1AB-1217-AA45-E64B-E3211AE90E83}"/>
              </a:ext>
            </a:extLst>
          </p:cNvPr>
          <p:cNvGrpSpPr/>
          <p:nvPr/>
        </p:nvGrpSpPr>
        <p:grpSpPr>
          <a:xfrm>
            <a:off x="4319960" y="4601214"/>
            <a:ext cx="4739721" cy="2217233"/>
            <a:chOff x="4319960" y="4601214"/>
            <a:chExt cx="4739721" cy="2217233"/>
          </a:xfrm>
          <a:solidFill>
            <a:srgbClr val="54A3AE"/>
          </a:solidFill>
        </p:grpSpPr>
        <p:sp>
          <p:nvSpPr>
            <p:cNvPr id="48" name="Arrow: Right 47">
              <a:extLst>
                <a:ext uri="{FF2B5EF4-FFF2-40B4-BE49-F238E27FC236}">
                  <a16:creationId xmlns:a16="http://schemas.microsoft.com/office/drawing/2014/main" id="{82F7D383-D7DF-A56E-61E8-9440CA8957EF}"/>
                </a:ext>
              </a:extLst>
            </p:cNvPr>
            <p:cNvSpPr/>
            <p:nvPr/>
          </p:nvSpPr>
          <p:spPr>
            <a:xfrm rot="18341947">
              <a:off x="5066269" y="5547691"/>
              <a:ext cx="2080055" cy="187102"/>
            </a:xfrm>
            <a:prstGeom prst="righ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FD274C14-E2B5-C532-7BD2-A0D827136223}"/>
                </a:ext>
              </a:extLst>
            </p:cNvPr>
            <p:cNvSpPr txBox="1"/>
            <p:nvPr/>
          </p:nvSpPr>
          <p:spPr>
            <a:xfrm>
              <a:off x="4319960" y="5187231"/>
              <a:ext cx="4739721" cy="1631216"/>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South Afric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used to assess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deployment of renewables</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used in policy formulation to achieve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social &amp; environmental outcomes</a:t>
              </a:r>
              <a:endParaRPr lang="en-GB"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7" name="Group 6">
            <a:extLst>
              <a:ext uri="{FF2B5EF4-FFF2-40B4-BE49-F238E27FC236}">
                <a16:creationId xmlns:a16="http://schemas.microsoft.com/office/drawing/2014/main" id="{53655B21-C8E7-9A90-4874-2CD3AA8CDAAE}"/>
              </a:ext>
            </a:extLst>
          </p:cNvPr>
          <p:cNvGrpSpPr/>
          <p:nvPr/>
        </p:nvGrpSpPr>
        <p:grpSpPr>
          <a:xfrm>
            <a:off x="776028" y="2728401"/>
            <a:ext cx="4909131" cy="2408421"/>
            <a:chOff x="776028" y="2728401"/>
            <a:chExt cx="4909131" cy="2408421"/>
          </a:xfrm>
        </p:grpSpPr>
        <p:sp>
          <p:nvSpPr>
            <p:cNvPr id="50" name="Arrow: Up 49">
              <a:extLst>
                <a:ext uri="{FF2B5EF4-FFF2-40B4-BE49-F238E27FC236}">
                  <a16:creationId xmlns:a16="http://schemas.microsoft.com/office/drawing/2014/main" id="{FA5D0E27-D7CD-E150-A545-25AFD17EB0FD}"/>
                </a:ext>
              </a:extLst>
            </p:cNvPr>
            <p:cNvSpPr/>
            <p:nvPr/>
          </p:nvSpPr>
          <p:spPr>
            <a:xfrm rot="1710569">
              <a:off x="5510006" y="2728401"/>
              <a:ext cx="175153" cy="920237"/>
            </a:xfrm>
            <a:prstGeom prst="upArrow">
              <a:avLst/>
            </a:prstGeom>
            <a:solidFill>
              <a:srgbClr val="54A3A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51" name="TextBox 50">
              <a:extLst>
                <a:ext uri="{FF2B5EF4-FFF2-40B4-BE49-F238E27FC236}">
                  <a16:creationId xmlns:a16="http://schemas.microsoft.com/office/drawing/2014/main" id="{BE8BE1E0-4986-C229-A2DF-E79A2752E53E}"/>
                </a:ext>
              </a:extLst>
            </p:cNvPr>
            <p:cNvSpPr txBox="1"/>
            <p:nvPr/>
          </p:nvSpPr>
          <p:spPr>
            <a:xfrm>
              <a:off x="776028" y="3505606"/>
              <a:ext cx="4813210" cy="1631216"/>
            </a:xfrm>
            <a:prstGeom prst="rect">
              <a:avLst/>
            </a:prstGeom>
            <a:solidFill>
              <a:srgbClr val="54A3AE"/>
            </a:solid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Nigeri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used to plan for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deployment of renewables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amp;</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infrastructure development</a:t>
              </a:r>
            </a:p>
            <a:p>
              <a:pPr algn="ct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inform </a:t>
              </a:r>
              <a:r>
                <a:rPr lang="en-US" sz="2000" b="1" err="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decarbonisation</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 plans</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are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validated by stakeholders</a:t>
              </a:r>
              <a:endParaRPr lang="en-GB"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56" name="Group 55">
            <a:extLst>
              <a:ext uri="{FF2B5EF4-FFF2-40B4-BE49-F238E27FC236}">
                <a16:creationId xmlns:a16="http://schemas.microsoft.com/office/drawing/2014/main" id="{5403A232-7729-9997-6EC2-E8568BE3F444}"/>
              </a:ext>
            </a:extLst>
          </p:cNvPr>
          <p:cNvGrpSpPr/>
          <p:nvPr/>
        </p:nvGrpSpPr>
        <p:grpSpPr>
          <a:xfrm>
            <a:off x="354188" y="1179310"/>
            <a:ext cx="4990081" cy="1938992"/>
            <a:chOff x="2758154" y="5012782"/>
            <a:chExt cx="4558844" cy="2206760"/>
          </a:xfrm>
        </p:grpSpPr>
        <p:sp>
          <p:nvSpPr>
            <p:cNvPr id="57" name="Arrow: Right 56">
              <a:extLst>
                <a:ext uri="{FF2B5EF4-FFF2-40B4-BE49-F238E27FC236}">
                  <a16:creationId xmlns:a16="http://schemas.microsoft.com/office/drawing/2014/main" id="{8AAD6549-A99F-A5AE-94DF-28152134684E}"/>
                </a:ext>
              </a:extLst>
            </p:cNvPr>
            <p:cNvSpPr/>
            <p:nvPr/>
          </p:nvSpPr>
          <p:spPr>
            <a:xfrm>
              <a:off x="5875540" y="5163476"/>
              <a:ext cx="1441458" cy="212428"/>
            </a:xfrm>
            <a:prstGeom prst="rightArrow">
              <a:avLst/>
            </a:prstGeom>
            <a:solidFill>
              <a:srgbClr val="54A3A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58" name="TextBox 57">
              <a:extLst>
                <a:ext uri="{FF2B5EF4-FFF2-40B4-BE49-F238E27FC236}">
                  <a16:creationId xmlns:a16="http://schemas.microsoft.com/office/drawing/2014/main" id="{3D29AF02-C379-327F-7F25-6A3C9B4A4E6C}"/>
                </a:ext>
              </a:extLst>
            </p:cNvPr>
            <p:cNvSpPr txBox="1"/>
            <p:nvPr/>
          </p:nvSpPr>
          <p:spPr>
            <a:xfrm>
              <a:off x="2758154" y="5012782"/>
              <a:ext cx="3532270" cy="2206760"/>
            </a:xfrm>
            <a:prstGeom prst="rect">
              <a:avLst/>
            </a:prstGeom>
            <a:solidFill>
              <a:srgbClr val="54A3AE"/>
            </a:solid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Morocco</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used to plan for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deployment of renewables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amp; assess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climate mitigation actions</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are communicated through </a:t>
              </a:r>
              <a:r>
                <a:rPr lang="en-US" sz="2000" b="1">
                  <a:solidFill>
                    <a:schemeClr val="accent4">
                      <a:lumMod val="60000"/>
                      <a:lumOff val="40000"/>
                    </a:schemeClr>
                  </a:solidFill>
                  <a:latin typeface="Calibri" panose="020F0502020204030204" pitchFamily="34" charset="0"/>
                  <a:ea typeface="Calibri" panose="020F0502020204030204" pitchFamily="34" charset="0"/>
                  <a:cs typeface="Calibri" panose="020F0502020204030204" pitchFamily="34" charset="0"/>
                </a:rPr>
                <a:t>targeted outreach</a:t>
              </a:r>
              <a:endParaRPr lang="en-GB" sz="2000" b="1">
                <a:solidFill>
                  <a:schemeClr val="accent4">
                    <a:lumMod val="60000"/>
                    <a:lumOff val="40000"/>
                  </a:schemeClr>
                </a:solidFill>
              </a:endParaRPr>
            </a:p>
          </p:txBody>
        </p:sp>
      </p:grpSp>
      <p:sp>
        <p:nvSpPr>
          <p:cNvPr id="10" name="Title 1">
            <a:extLst>
              <a:ext uri="{FF2B5EF4-FFF2-40B4-BE49-F238E27FC236}">
                <a16:creationId xmlns:a16="http://schemas.microsoft.com/office/drawing/2014/main" id="{A409148D-B021-1483-CE2F-58A31CB73185}"/>
              </a:ext>
            </a:extLst>
          </p:cNvPr>
          <p:cNvSpPr txBox="1">
            <a:spLocks/>
          </p:cNvSpPr>
          <p:nvPr/>
        </p:nvSpPr>
        <p:spPr bwMode="auto">
          <a:xfrm>
            <a:off x="1472881" y="271864"/>
            <a:ext cx="7901113"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eaLnBrk="1" fontAlgn="base" hangingPunct="1">
              <a:spcBef>
                <a:spcPct val="0"/>
              </a:spcBef>
              <a:spcAft>
                <a:spcPct val="0"/>
              </a:spcAft>
              <a:defRPr sz="2700" b="1">
                <a:solidFill>
                  <a:srgbClr val="E10019"/>
                </a:solidFill>
                <a:latin typeface="Arial" charset="0"/>
                <a:cs typeface="Arial" charset="0"/>
              </a:defRPr>
            </a:lvl6pPr>
            <a:lvl7pPr marL="1023523" algn="l" rtl="0" eaLnBrk="1" fontAlgn="base" hangingPunct="1">
              <a:spcBef>
                <a:spcPct val="0"/>
              </a:spcBef>
              <a:spcAft>
                <a:spcPct val="0"/>
              </a:spcAft>
              <a:defRPr sz="2700" b="1">
                <a:solidFill>
                  <a:srgbClr val="E10019"/>
                </a:solidFill>
                <a:latin typeface="Arial" charset="0"/>
                <a:cs typeface="Arial" charset="0"/>
              </a:defRPr>
            </a:lvl7pPr>
            <a:lvl8pPr marL="1535285" algn="l" rtl="0" eaLnBrk="1" fontAlgn="base" hangingPunct="1">
              <a:spcBef>
                <a:spcPct val="0"/>
              </a:spcBef>
              <a:spcAft>
                <a:spcPct val="0"/>
              </a:spcAft>
              <a:defRPr sz="2700" b="1">
                <a:solidFill>
                  <a:srgbClr val="E10019"/>
                </a:solidFill>
                <a:latin typeface="Arial" charset="0"/>
                <a:cs typeface="Arial" charset="0"/>
              </a:defRPr>
            </a:lvl8pPr>
            <a:lvl9pPr marL="2047046" algn="l" rtl="0" eaLnBrk="1" fontAlgn="base" hangingPunct="1">
              <a:spcBef>
                <a:spcPct val="0"/>
              </a:spcBef>
              <a:spcAft>
                <a:spcPct val="0"/>
              </a:spcAft>
              <a:defRPr sz="2700" b="1">
                <a:solidFill>
                  <a:srgbClr val="E10019"/>
                </a:solidFill>
                <a:latin typeface="Arial" charset="0"/>
                <a:cs typeface="Arial" charset="0"/>
              </a:defRPr>
            </a:lvl9pPr>
          </a:lstStyle>
          <a:p>
            <a:r>
              <a:rPr lang="en-US" sz="2400">
                <a:solidFill>
                  <a:srgbClr val="6E9636"/>
                </a:solidFill>
                <a:latin typeface="Calibri" panose="020F0502020204030204" pitchFamily="34" charset="0"/>
                <a:ea typeface="Calibri" panose="020F0502020204030204" pitchFamily="34" charset="0"/>
                <a:cs typeface="Calibri" panose="020F0502020204030204" pitchFamily="34" charset="0"/>
              </a:rPr>
              <a:t> </a:t>
            </a:r>
            <a:r>
              <a:rPr lang="en-US" sz="2400">
                <a:solidFill>
                  <a:srgbClr val="54A3AE"/>
                </a:solidFill>
                <a:latin typeface="Calibri" panose="020F0502020204030204" pitchFamily="34" charset="0"/>
                <a:ea typeface="Calibri" panose="020F0502020204030204" pitchFamily="34" charset="0"/>
                <a:cs typeface="Calibri" panose="020F0502020204030204" pitchFamily="34" charset="0"/>
              </a:rPr>
              <a:t>IMPROVING SCENARIO USE</a:t>
            </a:r>
            <a:endParaRPr lang="en-GB" sz="2400">
              <a:solidFill>
                <a:srgbClr val="54A3AE"/>
              </a:solidFill>
              <a:latin typeface="Calibri" panose="020F0502020204030204" pitchFamily="34" charset="0"/>
              <a:ea typeface="Calibri" panose="020F0502020204030204" pitchFamily="34" charset="0"/>
              <a:cs typeface="Calibri" panose="020F0502020204030204" pitchFamily="34" charset="0"/>
            </a:endParaRPr>
          </a:p>
        </p:txBody>
      </p:sp>
      <p:grpSp>
        <p:nvGrpSpPr>
          <p:cNvPr id="11" name="Group 10">
            <a:extLst>
              <a:ext uri="{FF2B5EF4-FFF2-40B4-BE49-F238E27FC236}">
                <a16:creationId xmlns:a16="http://schemas.microsoft.com/office/drawing/2014/main" id="{59DDEAD3-B505-E8A7-C2B8-0B36E38BF6B1}"/>
              </a:ext>
            </a:extLst>
          </p:cNvPr>
          <p:cNvGrpSpPr/>
          <p:nvPr/>
        </p:nvGrpSpPr>
        <p:grpSpPr>
          <a:xfrm>
            <a:off x="358360" y="31216"/>
            <a:ext cx="768059" cy="797842"/>
            <a:chOff x="33273" y="44204"/>
            <a:chExt cx="888206" cy="871538"/>
          </a:xfrm>
        </p:grpSpPr>
        <p:sp>
          <p:nvSpPr>
            <p:cNvPr id="12" name="AutoShape 3">
              <a:extLst>
                <a:ext uri="{FF2B5EF4-FFF2-40B4-BE49-F238E27FC236}">
                  <a16:creationId xmlns:a16="http://schemas.microsoft.com/office/drawing/2014/main" id="{37BCB463-783A-ACC1-90DD-BCB1D4FE7685}"/>
                </a:ext>
              </a:extLst>
            </p:cNvPr>
            <p:cNvSpPr>
              <a:spLocks noChangeAspect="1" noChangeArrowheads="1" noTextEdit="1"/>
            </p:cNvSpPr>
            <p:nvPr/>
          </p:nvSpPr>
          <p:spPr bwMode="auto">
            <a:xfrm>
              <a:off x="65817" y="44204"/>
              <a:ext cx="855662" cy="85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a:extLst>
                <a:ext uri="{FF2B5EF4-FFF2-40B4-BE49-F238E27FC236}">
                  <a16:creationId xmlns:a16="http://schemas.microsoft.com/office/drawing/2014/main" id="{E1D92190-BA8A-36C9-EA87-04DFFFF500DF}"/>
                </a:ext>
              </a:extLst>
            </p:cNvPr>
            <p:cNvSpPr>
              <a:spLocks/>
            </p:cNvSpPr>
            <p:nvPr/>
          </p:nvSpPr>
          <p:spPr bwMode="auto">
            <a:xfrm>
              <a:off x="33273" y="44204"/>
              <a:ext cx="869949" cy="871538"/>
            </a:xfrm>
            <a:custGeom>
              <a:avLst/>
              <a:gdLst>
                <a:gd name="T0" fmla="*/ 693 w 693"/>
                <a:gd name="T1" fmla="*/ 346 h 693"/>
                <a:gd name="T2" fmla="*/ 693 w 693"/>
                <a:gd name="T3" fmla="*/ 346 h 693"/>
                <a:gd name="T4" fmla="*/ 346 w 693"/>
                <a:gd name="T5" fmla="*/ 693 h 693"/>
                <a:gd name="T6" fmla="*/ 0 w 693"/>
                <a:gd name="T7" fmla="*/ 346 h 693"/>
                <a:gd name="T8" fmla="*/ 346 w 693"/>
                <a:gd name="T9" fmla="*/ 0 h 693"/>
                <a:gd name="T10" fmla="*/ 693 w 693"/>
                <a:gd name="T11" fmla="*/ 346 h 693"/>
              </a:gdLst>
              <a:ahLst/>
              <a:cxnLst>
                <a:cxn ang="0">
                  <a:pos x="T0" y="T1"/>
                </a:cxn>
                <a:cxn ang="0">
                  <a:pos x="T2" y="T3"/>
                </a:cxn>
                <a:cxn ang="0">
                  <a:pos x="T4" y="T5"/>
                </a:cxn>
                <a:cxn ang="0">
                  <a:pos x="T6" y="T7"/>
                </a:cxn>
                <a:cxn ang="0">
                  <a:pos x="T8" y="T9"/>
                </a:cxn>
                <a:cxn ang="0">
                  <a:pos x="T10" y="T11"/>
                </a:cxn>
              </a:cxnLst>
              <a:rect l="0" t="0" r="r" b="b"/>
              <a:pathLst>
                <a:path w="693" h="693">
                  <a:moveTo>
                    <a:pt x="693" y="346"/>
                  </a:moveTo>
                  <a:lnTo>
                    <a:pt x="693" y="346"/>
                  </a:lnTo>
                  <a:cubicBezTo>
                    <a:pt x="693" y="537"/>
                    <a:pt x="538" y="693"/>
                    <a:pt x="346" y="693"/>
                  </a:cubicBezTo>
                  <a:cubicBezTo>
                    <a:pt x="155" y="693"/>
                    <a:pt x="0" y="537"/>
                    <a:pt x="0" y="346"/>
                  </a:cubicBezTo>
                  <a:cubicBezTo>
                    <a:pt x="0" y="154"/>
                    <a:pt x="155" y="0"/>
                    <a:pt x="346" y="0"/>
                  </a:cubicBezTo>
                  <a:cubicBezTo>
                    <a:pt x="538" y="0"/>
                    <a:pt x="693" y="154"/>
                    <a:pt x="693" y="346"/>
                  </a:cubicBezTo>
                  <a:close/>
                </a:path>
              </a:pathLst>
            </a:custGeom>
            <a:solidFill>
              <a:srgbClr val="54A3AE"/>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6">
              <a:extLst>
                <a:ext uri="{FF2B5EF4-FFF2-40B4-BE49-F238E27FC236}">
                  <a16:creationId xmlns:a16="http://schemas.microsoft.com/office/drawing/2014/main" id="{15537AD1-A4AF-8671-E32F-748B5C7B0BF7}"/>
                </a:ext>
              </a:extLst>
            </p:cNvPr>
            <p:cNvSpPr>
              <a:spLocks noEditPoints="1"/>
            </p:cNvSpPr>
            <p:nvPr/>
          </p:nvSpPr>
          <p:spPr bwMode="auto">
            <a:xfrm>
              <a:off x="223773" y="301054"/>
              <a:ext cx="339725" cy="368300"/>
            </a:xfrm>
            <a:custGeom>
              <a:avLst/>
              <a:gdLst>
                <a:gd name="T0" fmla="*/ 162 w 270"/>
                <a:gd name="T1" fmla="*/ 0 h 293"/>
                <a:gd name="T2" fmla="*/ 162 w 270"/>
                <a:gd name="T3" fmla="*/ 0 h 293"/>
                <a:gd name="T4" fmla="*/ 0 w 270"/>
                <a:gd name="T5" fmla="*/ 6 h 293"/>
                <a:gd name="T6" fmla="*/ 104 w 270"/>
                <a:gd name="T7" fmla="*/ 146 h 293"/>
                <a:gd name="T8" fmla="*/ 0 w 270"/>
                <a:gd name="T9" fmla="*/ 287 h 293"/>
                <a:gd name="T10" fmla="*/ 162 w 270"/>
                <a:gd name="T11" fmla="*/ 293 h 293"/>
                <a:gd name="T12" fmla="*/ 270 w 270"/>
                <a:gd name="T13" fmla="*/ 146 h 293"/>
                <a:gd name="T14" fmla="*/ 162 w 270"/>
                <a:gd name="T15" fmla="*/ 0 h 293"/>
                <a:gd name="T16" fmla="*/ 155 w 270"/>
                <a:gd name="T17" fmla="*/ 279 h 293"/>
                <a:gd name="T18" fmla="*/ 155 w 270"/>
                <a:gd name="T19" fmla="*/ 279 h 293"/>
                <a:gd name="T20" fmla="*/ 27 w 270"/>
                <a:gd name="T21" fmla="*/ 274 h 293"/>
                <a:gd name="T22" fmla="*/ 121 w 270"/>
                <a:gd name="T23" fmla="*/ 146 h 293"/>
                <a:gd name="T24" fmla="*/ 27 w 270"/>
                <a:gd name="T25" fmla="*/ 19 h 293"/>
                <a:gd name="T26" fmla="*/ 155 w 270"/>
                <a:gd name="T27" fmla="*/ 14 h 293"/>
                <a:gd name="T28" fmla="*/ 253 w 270"/>
                <a:gd name="T29" fmla="*/ 146 h 293"/>
                <a:gd name="T30" fmla="*/ 155 w 270"/>
                <a:gd name="T31" fmla="*/ 279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0" h="293">
                  <a:moveTo>
                    <a:pt x="162" y="0"/>
                  </a:moveTo>
                  <a:lnTo>
                    <a:pt x="162" y="0"/>
                  </a:lnTo>
                  <a:lnTo>
                    <a:pt x="0" y="6"/>
                  </a:lnTo>
                  <a:lnTo>
                    <a:pt x="104" y="146"/>
                  </a:lnTo>
                  <a:lnTo>
                    <a:pt x="0" y="287"/>
                  </a:lnTo>
                  <a:lnTo>
                    <a:pt x="162" y="293"/>
                  </a:lnTo>
                  <a:lnTo>
                    <a:pt x="270" y="146"/>
                  </a:lnTo>
                  <a:lnTo>
                    <a:pt x="162" y="0"/>
                  </a:lnTo>
                  <a:close/>
                  <a:moveTo>
                    <a:pt x="155" y="279"/>
                  </a:moveTo>
                  <a:lnTo>
                    <a:pt x="155" y="279"/>
                  </a:lnTo>
                  <a:lnTo>
                    <a:pt x="27" y="274"/>
                  </a:lnTo>
                  <a:lnTo>
                    <a:pt x="121" y="146"/>
                  </a:lnTo>
                  <a:lnTo>
                    <a:pt x="27" y="19"/>
                  </a:lnTo>
                  <a:lnTo>
                    <a:pt x="155" y="14"/>
                  </a:lnTo>
                  <a:lnTo>
                    <a:pt x="253" y="146"/>
                  </a:lnTo>
                  <a:lnTo>
                    <a:pt x="155" y="279"/>
                  </a:ln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7">
              <a:extLst>
                <a:ext uri="{FF2B5EF4-FFF2-40B4-BE49-F238E27FC236}">
                  <a16:creationId xmlns:a16="http://schemas.microsoft.com/office/drawing/2014/main" id="{A5C8D2A9-ECCC-ECC9-8661-1D8CD6AE47CA}"/>
                </a:ext>
              </a:extLst>
            </p:cNvPr>
            <p:cNvSpPr>
              <a:spLocks/>
            </p:cNvSpPr>
            <p:nvPr/>
          </p:nvSpPr>
          <p:spPr bwMode="auto">
            <a:xfrm>
              <a:off x="475392" y="289942"/>
              <a:ext cx="417512" cy="390525"/>
            </a:xfrm>
            <a:custGeom>
              <a:avLst/>
              <a:gdLst>
                <a:gd name="T0" fmla="*/ 219 w 333"/>
                <a:gd name="T1" fmla="*/ 0 h 311"/>
                <a:gd name="T2" fmla="*/ 219 w 333"/>
                <a:gd name="T3" fmla="*/ 0 h 311"/>
                <a:gd name="T4" fmla="*/ 0 w 333"/>
                <a:gd name="T5" fmla="*/ 8 h 311"/>
                <a:gd name="T6" fmla="*/ 109 w 333"/>
                <a:gd name="T7" fmla="*/ 155 h 311"/>
                <a:gd name="T8" fmla="*/ 0 w 333"/>
                <a:gd name="T9" fmla="*/ 303 h 311"/>
                <a:gd name="T10" fmla="*/ 219 w 333"/>
                <a:gd name="T11" fmla="*/ 311 h 311"/>
                <a:gd name="T12" fmla="*/ 333 w 333"/>
                <a:gd name="T13" fmla="*/ 155 h 311"/>
                <a:gd name="T14" fmla="*/ 219 w 333"/>
                <a:gd name="T15" fmla="*/ 0 h 3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3" h="311">
                  <a:moveTo>
                    <a:pt x="219" y="0"/>
                  </a:moveTo>
                  <a:lnTo>
                    <a:pt x="219" y="0"/>
                  </a:lnTo>
                  <a:lnTo>
                    <a:pt x="0" y="8"/>
                  </a:lnTo>
                  <a:lnTo>
                    <a:pt x="109" y="155"/>
                  </a:lnTo>
                  <a:lnTo>
                    <a:pt x="0" y="303"/>
                  </a:lnTo>
                  <a:lnTo>
                    <a:pt x="219" y="311"/>
                  </a:lnTo>
                  <a:lnTo>
                    <a:pt x="333" y="155"/>
                  </a:lnTo>
                  <a:lnTo>
                    <a:pt x="219"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8">
              <a:extLst>
                <a:ext uri="{FF2B5EF4-FFF2-40B4-BE49-F238E27FC236}">
                  <a16:creationId xmlns:a16="http://schemas.microsoft.com/office/drawing/2014/main" id="{70137A00-3A4D-9707-7429-FC6F08446B9B}"/>
                </a:ext>
              </a:extLst>
            </p:cNvPr>
            <p:cNvSpPr>
              <a:spLocks/>
            </p:cNvSpPr>
            <p:nvPr/>
          </p:nvSpPr>
          <p:spPr bwMode="auto">
            <a:xfrm>
              <a:off x="95979" y="310580"/>
              <a:ext cx="215900" cy="349250"/>
            </a:xfrm>
            <a:custGeom>
              <a:avLst/>
              <a:gdLst>
                <a:gd name="T0" fmla="*/ 172 w 172"/>
                <a:gd name="T1" fmla="*/ 139 h 279"/>
                <a:gd name="T2" fmla="*/ 172 w 172"/>
                <a:gd name="T3" fmla="*/ 139 h 279"/>
                <a:gd name="T4" fmla="*/ 70 w 172"/>
                <a:gd name="T5" fmla="*/ 0 h 279"/>
                <a:gd name="T6" fmla="*/ 6 w 172"/>
                <a:gd name="T7" fmla="*/ 2 h 279"/>
                <a:gd name="T8" fmla="*/ 0 w 172"/>
                <a:gd name="T9" fmla="*/ 16 h 279"/>
                <a:gd name="T10" fmla="*/ 63 w 172"/>
                <a:gd name="T11" fmla="*/ 14 h 279"/>
                <a:gd name="T12" fmla="*/ 155 w 172"/>
                <a:gd name="T13" fmla="*/ 139 h 279"/>
                <a:gd name="T14" fmla="*/ 63 w 172"/>
                <a:gd name="T15" fmla="*/ 265 h 279"/>
                <a:gd name="T16" fmla="*/ 3 w 172"/>
                <a:gd name="T17" fmla="*/ 263 h 279"/>
                <a:gd name="T18" fmla="*/ 8 w 172"/>
                <a:gd name="T19" fmla="*/ 277 h 279"/>
                <a:gd name="T20" fmla="*/ 70 w 172"/>
                <a:gd name="T21" fmla="*/ 279 h 279"/>
                <a:gd name="T22" fmla="*/ 172 w 172"/>
                <a:gd name="T23" fmla="*/ 13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2" h="279">
                  <a:moveTo>
                    <a:pt x="172" y="139"/>
                  </a:moveTo>
                  <a:lnTo>
                    <a:pt x="172" y="139"/>
                  </a:lnTo>
                  <a:lnTo>
                    <a:pt x="70" y="0"/>
                  </a:lnTo>
                  <a:lnTo>
                    <a:pt x="6" y="2"/>
                  </a:lnTo>
                  <a:cubicBezTo>
                    <a:pt x="4" y="6"/>
                    <a:pt x="2" y="11"/>
                    <a:pt x="0" y="16"/>
                  </a:cubicBezTo>
                  <a:lnTo>
                    <a:pt x="63" y="14"/>
                  </a:lnTo>
                  <a:lnTo>
                    <a:pt x="155" y="139"/>
                  </a:lnTo>
                  <a:lnTo>
                    <a:pt x="63" y="265"/>
                  </a:lnTo>
                  <a:lnTo>
                    <a:pt x="3" y="263"/>
                  </a:lnTo>
                  <a:cubicBezTo>
                    <a:pt x="5" y="267"/>
                    <a:pt x="6" y="272"/>
                    <a:pt x="8" y="277"/>
                  </a:cubicBezTo>
                  <a:lnTo>
                    <a:pt x="70" y="279"/>
                  </a:lnTo>
                  <a:lnTo>
                    <a:pt x="172" y="139"/>
                  </a:lnTo>
                  <a:close/>
                </a:path>
              </a:pathLst>
            </a:custGeom>
            <a:solidFill>
              <a:srgbClr val="FFFFF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561396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98B4DE2-9B3B-B281-1D07-BDA520652E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04419" y="-98159"/>
            <a:ext cx="2199513" cy="82309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9999943-20E5-9FB5-2D93-4324138D6615}"/>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8310742" y="112641"/>
            <a:ext cx="1608606" cy="598975"/>
          </a:xfrm>
          <a:prstGeom prst="rect">
            <a:avLst/>
          </a:prstGeom>
          <a:noFill/>
        </p:spPr>
      </p:pic>
      <p:pic>
        <p:nvPicPr>
          <p:cNvPr id="1026" name="Picture 2" descr="Africa Animals Map">
            <a:extLst>
              <a:ext uri="{FF2B5EF4-FFF2-40B4-BE49-F238E27FC236}">
                <a16:creationId xmlns:a16="http://schemas.microsoft.com/office/drawing/2014/main" id="{603D6CEE-DAB5-0C29-DF87-39034FA8AE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5365" y="1252095"/>
            <a:ext cx="3594003" cy="3825103"/>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D929DF55-7F2C-3FC7-BE32-CC8CABFCA60B}"/>
              </a:ext>
            </a:extLst>
          </p:cNvPr>
          <p:cNvGrpSpPr/>
          <p:nvPr/>
        </p:nvGrpSpPr>
        <p:grpSpPr>
          <a:xfrm>
            <a:off x="6987746" y="1091784"/>
            <a:ext cx="5204256" cy="1631216"/>
            <a:chOff x="6913605" y="1187984"/>
            <a:chExt cx="4635714" cy="1631216"/>
          </a:xfrm>
          <a:solidFill>
            <a:srgbClr val="6E9636"/>
          </a:solidFill>
        </p:grpSpPr>
        <p:sp>
          <p:nvSpPr>
            <p:cNvPr id="28" name="Arrow: Left 27">
              <a:extLst>
                <a:ext uri="{FF2B5EF4-FFF2-40B4-BE49-F238E27FC236}">
                  <a16:creationId xmlns:a16="http://schemas.microsoft.com/office/drawing/2014/main" id="{9A707D82-D42E-A249-1549-CBFC1E965243}"/>
                </a:ext>
              </a:extLst>
            </p:cNvPr>
            <p:cNvSpPr/>
            <p:nvPr/>
          </p:nvSpPr>
          <p:spPr>
            <a:xfrm>
              <a:off x="6913605" y="1631091"/>
              <a:ext cx="1031790" cy="182880"/>
            </a:xfrm>
            <a:prstGeom prst="lef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extBox 31">
              <a:extLst>
                <a:ext uri="{FF2B5EF4-FFF2-40B4-BE49-F238E27FC236}">
                  <a16:creationId xmlns:a16="http://schemas.microsoft.com/office/drawing/2014/main" id="{2B9600C8-410A-F668-4994-294B9C0C334B}"/>
                </a:ext>
              </a:extLst>
            </p:cNvPr>
            <p:cNvSpPr txBox="1"/>
            <p:nvPr/>
          </p:nvSpPr>
          <p:spPr>
            <a:xfrm>
              <a:off x="7765619" y="1187984"/>
              <a:ext cx="3783700" cy="1631216"/>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Egypt</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Updated every </a:t>
              </a: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2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years as stated in</a:t>
              </a: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legislation</a:t>
              </a:r>
              <a:endPar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endParaRPr>
            </a:p>
            <a:p>
              <a:pPr algn="ctr"/>
              <a:r>
                <a:rPr lang="en-GB" sz="200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Multiple ministries and institutions </a:t>
              </a:r>
              <a:r>
                <a:rPr lang="en-GB" sz="2000">
                  <a:solidFill>
                    <a:schemeClr val="bg1"/>
                  </a:solidFill>
                  <a:latin typeface="Calibri" panose="020F0502020204030204" pitchFamily="34" charset="0"/>
                  <a:ea typeface="Calibri" panose="020F0502020204030204" pitchFamily="34" charset="0"/>
                  <a:cs typeface="Calibri" panose="020F0502020204030204" pitchFamily="34" charset="0"/>
                </a:rPr>
                <a:t>participate in LTES development </a:t>
              </a:r>
              <a:endParaRPr lang="en-US" sz="200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34" name="Group 33">
            <a:extLst>
              <a:ext uri="{FF2B5EF4-FFF2-40B4-BE49-F238E27FC236}">
                <a16:creationId xmlns:a16="http://schemas.microsoft.com/office/drawing/2014/main" id="{0BE0959A-2D93-74D4-1CA3-082EAC48E16D}"/>
              </a:ext>
            </a:extLst>
          </p:cNvPr>
          <p:cNvGrpSpPr/>
          <p:nvPr/>
        </p:nvGrpSpPr>
        <p:grpSpPr>
          <a:xfrm>
            <a:off x="7393329" y="3314686"/>
            <a:ext cx="4798672" cy="1631216"/>
            <a:chOff x="6851805" y="1772046"/>
            <a:chExt cx="4154396" cy="1631216"/>
          </a:xfrm>
          <a:solidFill>
            <a:srgbClr val="6E9636"/>
          </a:solidFill>
        </p:grpSpPr>
        <p:sp>
          <p:nvSpPr>
            <p:cNvPr id="35" name="Arrow: Left 34">
              <a:extLst>
                <a:ext uri="{FF2B5EF4-FFF2-40B4-BE49-F238E27FC236}">
                  <a16:creationId xmlns:a16="http://schemas.microsoft.com/office/drawing/2014/main" id="{801A316D-35C1-A81A-0549-26E4B2A5777F}"/>
                </a:ext>
              </a:extLst>
            </p:cNvPr>
            <p:cNvSpPr/>
            <p:nvPr/>
          </p:nvSpPr>
          <p:spPr>
            <a:xfrm rot="956387">
              <a:off x="6851805" y="1822285"/>
              <a:ext cx="1031790" cy="182880"/>
            </a:xfrm>
            <a:prstGeom prst="lef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latin typeface="Calibri" panose="020F0502020204030204" pitchFamily="34" charset="0"/>
                <a:ea typeface="Calibri" panose="020F0502020204030204" pitchFamily="34" charset="0"/>
                <a:cs typeface="Calibri" panose="020F0502020204030204" pitchFamily="34" charset="0"/>
              </a:endParaRPr>
            </a:p>
          </p:txBody>
        </p:sp>
        <p:sp>
          <p:nvSpPr>
            <p:cNvPr id="36" name="TextBox 35">
              <a:extLst>
                <a:ext uri="{FF2B5EF4-FFF2-40B4-BE49-F238E27FC236}">
                  <a16:creationId xmlns:a16="http://schemas.microsoft.com/office/drawing/2014/main" id="{ACFCB0F2-2287-8056-645D-0104E69E25AA}"/>
                </a:ext>
              </a:extLst>
            </p:cNvPr>
            <p:cNvSpPr txBox="1"/>
            <p:nvPr/>
          </p:nvSpPr>
          <p:spPr>
            <a:xfrm>
              <a:off x="7328761" y="1772046"/>
              <a:ext cx="3677440" cy="1631216"/>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Keny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 Updated every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2 years</a:t>
              </a:r>
            </a:p>
            <a:p>
              <a:pPr algn="ctr"/>
              <a:r>
                <a:rPr lang="en-GB" sz="2000" b="1">
                  <a:solidFill>
                    <a:schemeClr val="bg1"/>
                  </a:solidFill>
                  <a:latin typeface="Calibri" panose="020F0502020204030204" pitchFamily="34" charset="0"/>
                  <a:ea typeface="Calibri" panose="020F0502020204030204" pitchFamily="34" charset="0"/>
                  <a:cs typeface="Calibri" panose="020F0502020204030204" pitchFamily="34" charset="0"/>
                </a:rPr>
                <a:t>-</a:t>
              </a:r>
              <a:r>
                <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Multiple ministries and institutions </a:t>
              </a:r>
              <a:r>
                <a:rPr lang="en-GB" sz="2000">
                  <a:solidFill>
                    <a:schemeClr val="bg1"/>
                  </a:solidFill>
                  <a:latin typeface="Calibri" panose="020F0502020204030204" pitchFamily="34" charset="0"/>
                  <a:ea typeface="Calibri" panose="020F0502020204030204" pitchFamily="34" charset="0"/>
                  <a:cs typeface="Calibri" panose="020F0502020204030204" pitchFamily="34" charset="0"/>
                </a:rPr>
                <a:t>participate in LTES development</a:t>
              </a:r>
            </a:p>
            <a:p>
              <a:pPr algn="ctr"/>
              <a:r>
                <a:rPr lang="en-GB" sz="2000" b="1">
                  <a:solidFill>
                    <a:schemeClr val="bg1"/>
                  </a:solidFill>
                  <a:latin typeface="Calibri" panose="020F0502020204030204" pitchFamily="34" charset="0"/>
                  <a:ea typeface="Calibri" panose="020F0502020204030204" pitchFamily="34" charset="0"/>
                  <a:cs typeface="Calibri" panose="020F0502020204030204" pitchFamily="34" charset="0"/>
                </a:rPr>
                <a:t>-</a:t>
              </a:r>
              <a:r>
                <a:rPr lang="en-GB" sz="2000">
                  <a:solidFill>
                    <a:schemeClr val="bg1"/>
                  </a:solidFill>
                  <a:latin typeface="Calibri" panose="020F0502020204030204" pitchFamily="34" charset="0"/>
                  <a:ea typeface="Calibri" panose="020F0502020204030204" pitchFamily="34" charset="0"/>
                  <a:cs typeface="Calibri" panose="020F0502020204030204" pitchFamily="34" charset="0"/>
                </a:rPr>
                <a:t>Scenarios focus on the </a:t>
              </a:r>
              <a:r>
                <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power sector</a:t>
              </a:r>
              <a:endPar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9" name="Group 8">
            <a:extLst>
              <a:ext uri="{FF2B5EF4-FFF2-40B4-BE49-F238E27FC236}">
                <a16:creationId xmlns:a16="http://schemas.microsoft.com/office/drawing/2014/main" id="{FB7BC1AB-1217-AA45-E64B-E3211AE90E83}"/>
              </a:ext>
            </a:extLst>
          </p:cNvPr>
          <p:cNvGrpSpPr/>
          <p:nvPr/>
        </p:nvGrpSpPr>
        <p:grpSpPr>
          <a:xfrm>
            <a:off x="6203874" y="4662004"/>
            <a:ext cx="5900058" cy="2032969"/>
            <a:chOff x="6000479" y="4696088"/>
            <a:chExt cx="5900058" cy="2032969"/>
          </a:xfrm>
          <a:solidFill>
            <a:srgbClr val="6E9636"/>
          </a:solidFill>
        </p:grpSpPr>
        <p:sp>
          <p:nvSpPr>
            <p:cNvPr id="48" name="Arrow: Right 47">
              <a:extLst>
                <a:ext uri="{FF2B5EF4-FFF2-40B4-BE49-F238E27FC236}">
                  <a16:creationId xmlns:a16="http://schemas.microsoft.com/office/drawing/2014/main" id="{82F7D383-D7DF-A56E-61E8-9440CA8957EF}"/>
                </a:ext>
              </a:extLst>
            </p:cNvPr>
            <p:cNvSpPr/>
            <p:nvPr/>
          </p:nvSpPr>
          <p:spPr>
            <a:xfrm rot="16200000">
              <a:off x="5772466" y="5220995"/>
              <a:ext cx="1243527" cy="193714"/>
            </a:xfrm>
            <a:prstGeom prst="righ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TextBox 48">
              <a:extLst>
                <a:ext uri="{FF2B5EF4-FFF2-40B4-BE49-F238E27FC236}">
                  <a16:creationId xmlns:a16="http://schemas.microsoft.com/office/drawing/2014/main" id="{FD274C14-E2B5-C532-7BD2-A0D827136223}"/>
                </a:ext>
              </a:extLst>
            </p:cNvPr>
            <p:cNvSpPr txBox="1"/>
            <p:nvPr/>
          </p:nvSpPr>
          <p:spPr>
            <a:xfrm>
              <a:off x="6000479" y="5405618"/>
              <a:ext cx="5900058" cy="1323439"/>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South Afric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Extensive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stakeholder consultation</a:t>
              </a: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is conducted</a:t>
              </a:r>
            </a:p>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Scenarios assess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battery technologies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to support VRE focusing on the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power sector</a:t>
              </a:r>
              <a:endPar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endParaRPr>
            </a:p>
          </p:txBody>
        </p:sp>
      </p:grpSp>
      <p:grpSp>
        <p:nvGrpSpPr>
          <p:cNvPr id="7" name="Group 6">
            <a:extLst>
              <a:ext uri="{FF2B5EF4-FFF2-40B4-BE49-F238E27FC236}">
                <a16:creationId xmlns:a16="http://schemas.microsoft.com/office/drawing/2014/main" id="{53655B21-C8E7-9A90-4874-2CD3AA8CDAAE}"/>
              </a:ext>
            </a:extLst>
          </p:cNvPr>
          <p:cNvGrpSpPr/>
          <p:nvPr/>
        </p:nvGrpSpPr>
        <p:grpSpPr>
          <a:xfrm>
            <a:off x="347825" y="2698627"/>
            <a:ext cx="5501171" cy="3508378"/>
            <a:chOff x="347825" y="2698627"/>
            <a:chExt cx="5501171" cy="3508378"/>
          </a:xfrm>
          <a:solidFill>
            <a:srgbClr val="6E9636"/>
          </a:solidFill>
        </p:grpSpPr>
        <p:sp>
          <p:nvSpPr>
            <p:cNvPr id="50" name="Arrow: Up 49">
              <a:extLst>
                <a:ext uri="{FF2B5EF4-FFF2-40B4-BE49-F238E27FC236}">
                  <a16:creationId xmlns:a16="http://schemas.microsoft.com/office/drawing/2014/main" id="{FA5D0E27-D7CD-E150-A545-25AFD17EB0FD}"/>
                </a:ext>
              </a:extLst>
            </p:cNvPr>
            <p:cNvSpPr/>
            <p:nvPr/>
          </p:nvSpPr>
          <p:spPr>
            <a:xfrm rot="1710569">
              <a:off x="5393012" y="2698627"/>
              <a:ext cx="174947" cy="1410516"/>
            </a:xfrm>
            <a:prstGeom prst="upArrow">
              <a:avLst/>
            </a:prstGeom>
            <a:grp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51" name="TextBox 50">
              <a:extLst>
                <a:ext uri="{FF2B5EF4-FFF2-40B4-BE49-F238E27FC236}">
                  <a16:creationId xmlns:a16="http://schemas.microsoft.com/office/drawing/2014/main" id="{BE8BE1E0-4986-C229-A2DF-E79A2752E53E}"/>
                </a:ext>
              </a:extLst>
            </p:cNvPr>
            <p:cNvSpPr txBox="1"/>
            <p:nvPr/>
          </p:nvSpPr>
          <p:spPr>
            <a:xfrm>
              <a:off x="347825" y="3960236"/>
              <a:ext cx="5501171" cy="2246769"/>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Nigeria</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Updated every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5 years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as stated in</a:t>
              </a: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legislation</a:t>
              </a:r>
            </a:p>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en-GB"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Multiple ministries and institutions </a:t>
              </a:r>
              <a:r>
                <a:rPr lang="en-GB" sz="2000">
                  <a:solidFill>
                    <a:schemeClr val="bg1"/>
                  </a:solidFill>
                  <a:latin typeface="Calibri" panose="020F0502020204030204" pitchFamily="34" charset="0"/>
                  <a:ea typeface="Calibri" panose="020F0502020204030204" pitchFamily="34" charset="0"/>
                  <a:cs typeface="Calibri" panose="020F0502020204030204" pitchFamily="34" charset="0"/>
                </a:rPr>
                <a:t>participate in LTES development</a:t>
              </a:r>
            </a:p>
            <a:p>
              <a:pPr marL="342900" indent="-342900" algn="ctr">
                <a:buFontTx/>
                <a:buChar char="-"/>
              </a:pP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National planning office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conducts energy planning</a:t>
              </a:r>
            </a:p>
            <a:p>
              <a:pPr marL="342900" indent="-342900" algn="ctr">
                <a:buFontTx/>
                <a:buChar char="-"/>
              </a:pP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LTES and LT-LEDS </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are aligned</a:t>
              </a:r>
            </a:p>
          </p:txBody>
        </p:sp>
      </p:grpSp>
      <p:grpSp>
        <p:nvGrpSpPr>
          <p:cNvPr id="56" name="Group 55">
            <a:extLst>
              <a:ext uri="{FF2B5EF4-FFF2-40B4-BE49-F238E27FC236}">
                <a16:creationId xmlns:a16="http://schemas.microsoft.com/office/drawing/2014/main" id="{5403A232-7729-9997-6EC2-E8568BE3F444}"/>
              </a:ext>
            </a:extLst>
          </p:cNvPr>
          <p:cNvGrpSpPr/>
          <p:nvPr/>
        </p:nvGrpSpPr>
        <p:grpSpPr>
          <a:xfrm>
            <a:off x="354188" y="1179308"/>
            <a:ext cx="4990081" cy="1938992"/>
            <a:chOff x="2758154" y="5012782"/>
            <a:chExt cx="4558844" cy="2206761"/>
          </a:xfrm>
          <a:solidFill>
            <a:srgbClr val="6E9636"/>
          </a:solidFill>
        </p:grpSpPr>
        <p:sp>
          <p:nvSpPr>
            <p:cNvPr id="57" name="Arrow: Right 56">
              <a:extLst>
                <a:ext uri="{FF2B5EF4-FFF2-40B4-BE49-F238E27FC236}">
                  <a16:creationId xmlns:a16="http://schemas.microsoft.com/office/drawing/2014/main" id="{8AAD6549-A99F-A5AE-94DF-28152134684E}"/>
                </a:ext>
              </a:extLst>
            </p:cNvPr>
            <p:cNvSpPr/>
            <p:nvPr/>
          </p:nvSpPr>
          <p:spPr>
            <a:xfrm>
              <a:off x="5875540" y="5163476"/>
              <a:ext cx="1441458" cy="212428"/>
            </a:xfrm>
            <a:prstGeom prst="rightArrow">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000"/>
            </a:p>
          </p:txBody>
        </p:sp>
        <p:sp>
          <p:nvSpPr>
            <p:cNvPr id="58" name="TextBox 57">
              <a:extLst>
                <a:ext uri="{FF2B5EF4-FFF2-40B4-BE49-F238E27FC236}">
                  <a16:creationId xmlns:a16="http://schemas.microsoft.com/office/drawing/2014/main" id="{3D29AF02-C379-327F-7F25-6A3C9B4A4E6C}"/>
                </a:ext>
              </a:extLst>
            </p:cNvPr>
            <p:cNvSpPr txBox="1"/>
            <p:nvPr/>
          </p:nvSpPr>
          <p:spPr>
            <a:xfrm>
              <a:off x="2758154" y="5012782"/>
              <a:ext cx="3532270" cy="2206761"/>
            </a:xfrm>
            <a:prstGeom prst="rect">
              <a:avLst/>
            </a:prstGeom>
            <a:grpFill/>
          </p:spPr>
          <p:txBody>
            <a:bodyPr wrap="square" rtlCol="0">
              <a:spAutoFit/>
            </a:bodyPr>
            <a:lstStyle/>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Morocco</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LTES are formed as part of an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NDC-driven</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 process</a:t>
              </a:r>
            </a:p>
            <a:p>
              <a:pPr algn="ct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Extensive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stakeholder consultation</a:t>
              </a:r>
              <a:endParaRPr lang="en-US" sz="2000">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endParaRPr>
            </a:p>
            <a:p>
              <a:pPr algn="ctr"/>
              <a:r>
                <a:rPr lang="en-US" sz="2000" b="1">
                  <a:solidFill>
                    <a:schemeClr val="bg1"/>
                  </a:solidFill>
                  <a:latin typeface="Calibri" panose="020F0502020204030204" pitchFamily="34" charset="0"/>
                  <a:ea typeface="Calibri" panose="020F0502020204030204" pitchFamily="34" charset="0"/>
                  <a:cs typeface="Calibri" panose="020F0502020204030204" pitchFamily="34" charset="0"/>
                </a:rPr>
                <a:t>- A</a:t>
              </a:r>
              <a:r>
                <a:rPr lang="en-US" sz="2000">
                  <a:solidFill>
                    <a:schemeClr val="bg1"/>
                  </a:solidFill>
                  <a:latin typeface="Calibri" panose="020F0502020204030204" pitchFamily="34" charset="0"/>
                  <a:ea typeface="Calibri" panose="020F0502020204030204" pitchFamily="34" charset="0"/>
                  <a:cs typeface="Calibri" panose="020F0502020204030204" pitchFamily="34" charset="0"/>
                </a:rPr>
                <a:t>ccount for all </a:t>
              </a:r>
              <a:r>
                <a:rPr lang="en-US" sz="2000" b="1">
                  <a:solidFill>
                    <a:schemeClr val="accent4">
                      <a:lumMod val="75000"/>
                    </a:schemeClr>
                  </a:solidFill>
                  <a:latin typeface="Calibri" panose="020F0502020204030204" pitchFamily="34" charset="0"/>
                  <a:ea typeface="Calibri" panose="020F0502020204030204" pitchFamily="34" charset="0"/>
                  <a:cs typeface="Calibri" panose="020F0502020204030204" pitchFamily="34" charset="0"/>
                </a:rPr>
                <a:t>emitting sectors</a:t>
              </a:r>
              <a:endParaRPr lang="en-GB" sz="2000" b="1">
                <a:solidFill>
                  <a:schemeClr val="accent4">
                    <a:lumMod val="75000"/>
                  </a:schemeClr>
                </a:solidFill>
              </a:endParaRPr>
            </a:p>
          </p:txBody>
        </p:sp>
      </p:grpSp>
      <p:sp>
        <p:nvSpPr>
          <p:cNvPr id="4" name="Title 1">
            <a:extLst>
              <a:ext uri="{FF2B5EF4-FFF2-40B4-BE49-F238E27FC236}">
                <a16:creationId xmlns:a16="http://schemas.microsoft.com/office/drawing/2014/main" id="{E0910AC8-D7AE-F1FE-4EFD-482601390149}"/>
              </a:ext>
            </a:extLst>
          </p:cNvPr>
          <p:cNvSpPr txBox="1">
            <a:spLocks/>
          </p:cNvSpPr>
          <p:nvPr/>
        </p:nvSpPr>
        <p:spPr bwMode="auto">
          <a:xfrm>
            <a:off x="1196752" y="366267"/>
            <a:ext cx="7901113" cy="48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1" fontAlgn="base" hangingPunct="1">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eaLnBrk="1" fontAlgn="base" hangingPunct="1">
              <a:spcBef>
                <a:spcPct val="0"/>
              </a:spcBef>
              <a:spcAft>
                <a:spcPct val="0"/>
              </a:spcAft>
              <a:defRPr sz="2700" b="1">
                <a:solidFill>
                  <a:srgbClr val="E10019"/>
                </a:solidFill>
                <a:latin typeface="Arial" charset="0"/>
                <a:cs typeface="Arial" charset="0"/>
              </a:defRPr>
            </a:lvl6pPr>
            <a:lvl7pPr marL="1023523" algn="l" rtl="0" eaLnBrk="1" fontAlgn="base" hangingPunct="1">
              <a:spcBef>
                <a:spcPct val="0"/>
              </a:spcBef>
              <a:spcAft>
                <a:spcPct val="0"/>
              </a:spcAft>
              <a:defRPr sz="2700" b="1">
                <a:solidFill>
                  <a:srgbClr val="E10019"/>
                </a:solidFill>
                <a:latin typeface="Arial" charset="0"/>
                <a:cs typeface="Arial" charset="0"/>
              </a:defRPr>
            </a:lvl7pPr>
            <a:lvl8pPr marL="1535285" algn="l" rtl="0" eaLnBrk="1" fontAlgn="base" hangingPunct="1">
              <a:spcBef>
                <a:spcPct val="0"/>
              </a:spcBef>
              <a:spcAft>
                <a:spcPct val="0"/>
              </a:spcAft>
              <a:defRPr sz="2700" b="1">
                <a:solidFill>
                  <a:srgbClr val="E10019"/>
                </a:solidFill>
                <a:latin typeface="Arial" charset="0"/>
                <a:cs typeface="Arial" charset="0"/>
              </a:defRPr>
            </a:lvl8pPr>
            <a:lvl9pPr marL="2047046" algn="l" rtl="0" eaLnBrk="1" fontAlgn="base" hangingPunct="1">
              <a:spcBef>
                <a:spcPct val="0"/>
              </a:spcBef>
              <a:spcAft>
                <a:spcPct val="0"/>
              </a:spcAft>
              <a:defRPr sz="2700" b="1">
                <a:solidFill>
                  <a:srgbClr val="E10019"/>
                </a:solidFill>
                <a:latin typeface="Arial" charset="0"/>
                <a:cs typeface="Arial" charset="0"/>
              </a:defRPr>
            </a:lvl9pPr>
          </a:lstStyle>
          <a:p>
            <a:r>
              <a:rPr lang="en-GB" sz="2400">
                <a:solidFill>
                  <a:srgbClr val="6E9636"/>
                </a:solidFill>
                <a:latin typeface="Calibri" panose="020F0502020204030204" pitchFamily="34" charset="0"/>
                <a:ea typeface="Calibri" panose="020F0502020204030204" pitchFamily="34" charset="0"/>
                <a:cs typeface="Calibri" panose="020F0502020204030204" pitchFamily="34" charset="0"/>
              </a:rPr>
              <a:t>STRENGTHENING SCENARIO DEVELOPMENT PROCESSES</a:t>
            </a:r>
          </a:p>
        </p:txBody>
      </p:sp>
      <p:grpSp>
        <p:nvGrpSpPr>
          <p:cNvPr id="5" name="Group 4">
            <a:extLst>
              <a:ext uri="{FF2B5EF4-FFF2-40B4-BE49-F238E27FC236}">
                <a16:creationId xmlns:a16="http://schemas.microsoft.com/office/drawing/2014/main" id="{B0DC1225-DFA9-D9C8-BBD4-ABCCEF527C95}"/>
              </a:ext>
            </a:extLst>
          </p:cNvPr>
          <p:cNvGrpSpPr/>
          <p:nvPr/>
        </p:nvGrpSpPr>
        <p:grpSpPr>
          <a:xfrm>
            <a:off x="88067" y="75509"/>
            <a:ext cx="862875" cy="862875"/>
            <a:chOff x="146454" y="18282"/>
            <a:chExt cx="862875" cy="862875"/>
          </a:xfrm>
        </p:grpSpPr>
        <p:sp>
          <p:nvSpPr>
            <p:cNvPr id="6" name="AutoShape 3">
              <a:extLst>
                <a:ext uri="{FF2B5EF4-FFF2-40B4-BE49-F238E27FC236}">
                  <a16:creationId xmlns:a16="http://schemas.microsoft.com/office/drawing/2014/main" id="{BD55E6BB-90C3-406F-EE56-9B891648C4BC}"/>
                </a:ext>
              </a:extLst>
            </p:cNvPr>
            <p:cNvSpPr>
              <a:spLocks noChangeAspect="1" noChangeArrowheads="1" noTextEdit="1"/>
            </p:cNvSpPr>
            <p:nvPr/>
          </p:nvSpPr>
          <p:spPr bwMode="auto">
            <a:xfrm>
              <a:off x="146454" y="19775"/>
              <a:ext cx="847946" cy="847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
              <a:extLst>
                <a:ext uri="{FF2B5EF4-FFF2-40B4-BE49-F238E27FC236}">
                  <a16:creationId xmlns:a16="http://schemas.microsoft.com/office/drawing/2014/main" id="{125956E3-E35A-E37B-2B34-E2B639F553A2}"/>
                </a:ext>
              </a:extLst>
            </p:cNvPr>
            <p:cNvSpPr>
              <a:spLocks/>
            </p:cNvSpPr>
            <p:nvPr/>
          </p:nvSpPr>
          <p:spPr bwMode="auto">
            <a:xfrm>
              <a:off x="146454" y="18282"/>
              <a:ext cx="862875" cy="862875"/>
            </a:xfrm>
            <a:custGeom>
              <a:avLst/>
              <a:gdLst>
                <a:gd name="T0" fmla="*/ 693 w 693"/>
                <a:gd name="T1" fmla="*/ 346 h 693"/>
                <a:gd name="T2" fmla="*/ 693 w 693"/>
                <a:gd name="T3" fmla="*/ 346 h 693"/>
                <a:gd name="T4" fmla="*/ 346 w 693"/>
                <a:gd name="T5" fmla="*/ 693 h 693"/>
                <a:gd name="T6" fmla="*/ 0 w 693"/>
                <a:gd name="T7" fmla="*/ 346 h 693"/>
                <a:gd name="T8" fmla="*/ 346 w 693"/>
                <a:gd name="T9" fmla="*/ 0 h 693"/>
                <a:gd name="T10" fmla="*/ 693 w 693"/>
                <a:gd name="T11" fmla="*/ 346 h 693"/>
              </a:gdLst>
              <a:ahLst/>
              <a:cxnLst>
                <a:cxn ang="0">
                  <a:pos x="T0" y="T1"/>
                </a:cxn>
                <a:cxn ang="0">
                  <a:pos x="T2" y="T3"/>
                </a:cxn>
                <a:cxn ang="0">
                  <a:pos x="T4" y="T5"/>
                </a:cxn>
                <a:cxn ang="0">
                  <a:pos x="T6" y="T7"/>
                </a:cxn>
                <a:cxn ang="0">
                  <a:pos x="T8" y="T9"/>
                </a:cxn>
                <a:cxn ang="0">
                  <a:pos x="T10" y="T11"/>
                </a:cxn>
              </a:cxnLst>
              <a:rect l="0" t="0" r="r" b="b"/>
              <a:pathLst>
                <a:path w="693" h="693">
                  <a:moveTo>
                    <a:pt x="693" y="346"/>
                  </a:moveTo>
                  <a:lnTo>
                    <a:pt x="693" y="346"/>
                  </a:lnTo>
                  <a:cubicBezTo>
                    <a:pt x="693" y="537"/>
                    <a:pt x="538" y="693"/>
                    <a:pt x="346" y="693"/>
                  </a:cubicBezTo>
                  <a:cubicBezTo>
                    <a:pt x="155" y="693"/>
                    <a:pt x="0" y="537"/>
                    <a:pt x="0" y="346"/>
                  </a:cubicBezTo>
                  <a:cubicBezTo>
                    <a:pt x="0" y="154"/>
                    <a:pt x="155" y="0"/>
                    <a:pt x="346" y="0"/>
                  </a:cubicBezTo>
                  <a:cubicBezTo>
                    <a:pt x="538" y="0"/>
                    <a:pt x="693" y="154"/>
                    <a:pt x="693" y="346"/>
                  </a:cubicBezTo>
                  <a:close/>
                </a:path>
              </a:pathLst>
            </a:custGeom>
            <a:solidFill>
              <a:srgbClr val="6E9636"/>
            </a:solidFill>
            <a:ln w="0">
              <a:solidFill>
                <a:srgbClr val="6E963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1EA959D9-8B73-6A18-FD1B-251B2F88F658}"/>
                </a:ext>
              </a:extLst>
            </p:cNvPr>
            <p:cNvSpPr>
              <a:spLocks noEditPoints="1"/>
            </p:cNvSpPr>
            <p:nvPr/>
          </p:nvSpPr>
          <p:spPr bwMode="auto">
            <a:xfrm>
              <a:off x="283797" y="173540"/>
              <a:ext cx="586695" cy="507574"/>
            </a:xfrm>
            <a:custGeom>
              <a:avLst/>
              <a:gdLst>
                <a:gd name="T0" fmla="*/ 75 w 472"/>
                <a:gd name="T1" fmla="*/ 145 h 408"/>
                <a:gd name="T2" fmla="*/ 75 w 472"/>
                <a:gd name="T3" fmla="*/ 145 h 408"/>
                <a:gd name="T4" fmla="*/ 133 w 472"/>
                <a:gd name="T5" fmla="*/ 145 h 408"/>
                <a:gd name="T6" fmla="*/ 202 w 472"/>
                <a:gd name="T7" fmla="*/ 145 h 408"/>
                <a:gd name="T8" fmla="*/ 260 w 472"/>
                <a:gd name="T9" fmla="*/ 145 h 408"/>
                <a:gd name="T10" fmla="*/ 338 w 472"/>
                <a:gd name="T11" fmla="*/ 145 h 408"/>
                <a:gd name="T12" fmla="*/ 397 w 472"/>
                <a:gd name="T13" fmla="*/ 145 h 408"/>
                <a:gd name="T14" fmla="*/ 471 w 472"/>
                <a:gd name="T15" fmla="*/ 145 h 408"/>
                <a:gd name="T16" fmla="*/ 471 w 472"/>
                <a:gd name="T17" fmla="*/ 143 h 408"/>
                <a:gd name="T18" fmla="*/ 236 w 472"/>
                <a:gd name="T19" fmla="*/ 0 h 408"/>
                <a:gd name="T20" fmla="*/ 1 w 472"/>
                <a:gd name="T21" fmla="*/ 143 h 408"/>
                <a:gd name="T22" fmla="*/ 1 w 472"/>
                <a:gd name="T23" fmla="*/ 145 h 408"/>
                <a:gd name="T24" fmla="*/ 75 w 472"/>
                <a:gd name="T25" fmla="*/ 145 h 408"/>
                <a:gd name="T26" fmla="*/ 75 w 472"/>
                <a:gd name="T27" fmla="*/ 145 h 408"/>
                <a:gd name="T28" fmla="*/ 435 w 472"/>
                <a:gd name="T29" fmla="*/ 332 h 408"/>
                <a:gd name="T30" fmla="*/ 435 w 472"/>
                <a:gd name="T31" fmla="*/ 332 h 408"/>
                <a:gd name="T32" fmla="*/ 388 w 472"/>
                <a:gd name="T33" fmla="*/ 332 h 408"/>
                <a:gd name="T34" fmla="*/ 333 w 472"/>
                <a:gd name="T35" fmla="*/ 332 h 408"/>
                <a:gd name="T36" fmla="*/ 259 w 472"/>
                <a:gd name="T37" fmla="*/ 332 h 408"/>
                <a:gd name="T38" fmla="*/ 204 w 472"/>
                <a:gd name="T39" fmla="*/ 332 h 408"/>
                <a:gd name="T40" fmla="*/ 139 w 472"/>
                <a:gd name="T41" fmla="*/ 332 h 408"/>
                <a:gd name="T42" fmla="*/ 84 w 472"/>
                <a:gd name="T43" fmla="*/ 332 h 408"/>
                <a:gd name="T44" fmla="*/ 37 w 472"/>
                <a:gd name="T45" fmla="*/ 332 h 408"/>
                <a:gd name="T46" fmla="*/ 37 w 472"/>
                <a:gd name="T47" fmla="*/ 365 h 408"/>
                <a:gd name="T48" fmla="*/ 8 w 472"/>
                <a:gd name="T49" fmla="*/ 365 h 408"/>
                <a:gd name="T50" fmla="*/ 8 w 472"/>
                <a:gd name="T51" fmla="*/ 408 h 408"/>
                <a:gd name="T52" fmla="*/ 465 w 472"/>
                <a:gd name="T53" fmla="*/ 408 h 408"/>
                <a:gd name="T54" fmla="*/ 465 w 472"/>
                <a:gd name="T55" fmla="*/ 365 h 408"/>
                <a:gd name="T56" fmla="*/ 435 w 472"/>
                <a:gd name="T57" fmla="*/ 365 h 408"/>
                <a:gd name="T58" fmla="*/ 435 w 472"/>
                <a:gd name="T59" fmla="*/ 332 h 408"/>
                <a:gd name="T60" fmla="*/ 435 w 472"/>
                <a:gd name="T61" fmla="*/ 33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2" h="408">
                  <a:moveTo>
                    <a:pt x="75" y="145"/>
                  </a:moveTo>
                  <a:lnTo>
                    <a:pt x="75" y="145"/>
                  </a:lnTo>
                  <a:lnTo>
                    <a:pt x="133" y="145"/>
                  </a:lnTo>
                  <a:lnTo>
                    <a:pt x="202" y="145"/>
                  </a:lnTo>
                  <a:lnTo>
                    <a:pt x="260" y="145"/>
                  </a:lnTo>
                  <a:lnTo>
                    <a:pt x="338" y="145"/>
                  </a:lnTo>
                  <a:lnTo>
                    <a:pt x="397" y="145"/>
                  </a:lnTo>
                  <a:lnTo>
                    <a:pt x="471" y="145"/>
                  </a:lnTo>
                  <a:cubicBezTo>
                    <a:pt x="472" y="145"/>
                    <a:pt x="472" y="144"/>
                    <a:pt x="471" y="143"/>
                  </a:cubicBezTo>
                  <a:lnTo>
                    <a:pt x="236" y="0"/>
                  </a:lnTo>
                  <a:lnTo>
                    <a:pt x="1" y="143"/>
                  </a:lnTo>
                  <a:cubicBezTo>
                    <a:pt x="0" y="144"/>
                    <a:pt x="1" y="145"/>
                    <a:pt x="1" y="145"/>
                  </a:cubicBezTo>
                  <a:lnTo>
                    <a:pt x="75" y="145"/>
                  </a:lnTo>
                  <a:lnTo>
                    <a:pt x="75" y="145"/>
                  </a:lnTo>
                  <a:close/>
                  <a:moveTo>
                    <a:pt x="435" y="332"/>
                  </a:moveTo>
                  <a:lnTo>
                    <a:pt x="435" y="332"/>
                  </a:lnTo>
                  <a:lnTo>
                    <a:pt x="388" y="332"/>
                  </a:lnTo>
                  <a:lnTo>
                    <a:pt x="333" y="332"/>
                  </a:lnTo>
                  <a:lnTo>
                    <a:pt x="259" y="332"/>
                  </a:lnTo>
                  <a:lnTo>
                    <a:pt x="204" y="332"/>
                  </a:lnTo>
                  <a:lnTo>
                    <a:pt x="139" y="332"/>
                  </a:lnTo>
                  <a:lnTo>
                    <a:pt x="84" y="332"/>
                  </a:lnTo>
                  <a:lnTo>
                    <a:pt x="37" y="332"/>
                  </a:lnTo>
                  <a:lnTo>
                    <a:pt x="37" y="365"/>
                  </a:lnTo>
                  <a:lnTo>
                    <a:pt x="8" y="365"/>
                  </a:lnTo>
                  <a:lnTo>
                    <a:pt x="8" y="408"/>
                  </a:lnTo>
                  <a:lnTo>
                    <a:pt x="465" y="408"/>
                  </a:lnTo>
                  <a:lnTo>
                    <a:pt x="465" y="365"/>
                  </a:lnTo>
                  <a:lnTo>
                    <a:pt x="435" y="365"/>
                  </a:lnTo>
                  <a:lnTo>
                    <a:pt x="435" y="332"/>
                  </a:lnTo>
                  <a:lnTo>
                    <a:pt x="435" y="332"/>
                  </a:lnTo>
                  <a:close/>
                </a:path>
              </a:pathLst>
            </a:custGeom>
            <a:noFill/>
            <a:ln w="17463"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7A6588EF-E8AA-AFD9-B218-BB92D3D8B96A}"/>
                </a:ext>
              </a:extLst>
            </p:cNvPr>
            <p:cNvSpPr>
              <a:spLocks noEditPoints="1"/>
            </p:cNvSpPr>
            <p:nvPr/>
          </p:nvSpPr>
          <p:spPr bwMode="auto">
            <a:xfrm>
              <a:off x="406212" y="346712"/>
              <a:ext cx="341866" cy="231394"/>
            </a:xfrm>
            <a:custGeom>
              <a:avLst/>
              <a:gdLst>
                <a:gd name="T0" fmla="*/ 274 w 274"/>
                <a:gd name="T1" fmla="*/ 0 h 186"/>
                <a:gd name="T2" fmla="*/ 274 w 274"/>
                <a:gd name="T3" fmla="*/ 0 h 186"/>
                <a:gd name="T4" fmla="*/ 274 w 274"/>
                <a:gd name="T5" fmla="*/ 186 h 186"/>
                <a:gd name="T6" fmla="*/ 0 w 274"/>
                <a:gd name="T7" fmla="*/ 186 h 186"/>
                <a:gd name="T8" fmla="*/ 0 w 274"/>
                <a:gd name="T9" fmla="*/ 186 h 186"/>
                <a:gd name="T10" fmla="*/ 0 w 274"/>
                <a:gd name="T11" fmla="*/ 0 h 186"/>
                <a:gd name="T12" fmla="*/ 92 w 274"/>
                <a:gd name="T13" fmla="*/ 186 h 186"/>
                <a:gd name="T14" fmla="*/ 92 w 274"/>
                <a:gd name="T15" fmla="*/ 186 h 186"/>
                <a:gd name="T16" fmla="*/ 92 w 274"/>
                <a:gd name="T17" fmla="*/ 0 h 186"/>
                <a:gd name="T18" fmla="*/ 180 w 274"/>
                <a:gd name="T19" fmla="*/ 0 h 186"/>
                <a:gd name="T20" fmla="*/ 180 w 274"/>
                <a:gd name="T21" fmla="*/ 0 h 186"/>
                <a:gd name="T22" fmla="*/ 180 w 274"/>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186">
                  <a:moveTo>
                    <a:pt x="274" y="0"/>
                  </a:moveTo>
                  <a:lnTo>
                    <a:pt x="274" y="0"/>
                  </a:lnTo>
                  <a:lnTo>
                    <a:pt x="274" y="186"/>
                  </a:lnTo>
                  <a:moveTo>
                    <a:pt x="0" y="186"/>
                  </a:moveTo>
                  <a:lnTo>
                    <a:pt x="0" y="186"/>
                  </a:lnTo>
                  <a:lnTo>
                    <a:pt x="0" y="0"/>
                  </a:lnTo>
                  <a:moveTo>
                    <a:pt x="92" y="186"/>
                  </a:moveTo>
                  <a:lnTo>
                    <a:pt x="92" y="186"/>
                  </a:lnTo>
                  <a:lnTo>
                    <a:pt x="92" y="0"/>
                  </a:lnTo>
                  <a:moveTo>
                    <a:pt x="180" y="0"/>
                  </a:moveTo>
                  <a:lnTo>
                    <a:pt x="180" y="0"/>
                  </a:lnTo>
                  <a:lnTo>
                    <a:pt x="180" y="186"/>
                  </a:lnTo>
                </a:path>
              </a:pathLst>
            </a:custGeom>
            <a:noFill/>
            <a:ln w="523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239349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0D26F8-5F74-405F-B7D8-7B2C86DFBA3D}"/>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4" name="think-cell data - do not delete" hidden="1">
                        <a:extLst>
                          <a:ext uri="{FF2B5EF4-FFF2-40B4-BE49-F238E27FC236}">
                            <a16:creationId xmlns:a16="http://schemas.microsoft.com/office/drawing/2014/main" id="{190D26F8-5F74-405F-B7D8-7B2C86DFBA3D}"/>
                          </a:ext>
                        </a:extLst>
                      </p:cNvPr>
                      <p:cNvPicPr/>
                      <p:nvPr/>
                    </p:nvPicPr>
                    <p:blipFill>
                      <a:blip r:embed="rId5"/>
                      <a:stretch>
                        <a:fillRect/>
                      </a:stretch>
                    </p:blipFill>
                    <p:spPr>
                      <a:xfrm>
                        <a:off x="1711" y="1621"/>
                        <a:ext cx="1620" cy="162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46248936-C7E6-48DD-91DA-EAD275F750CE}"/>
              </a:ext>
            </a:extLst>
          </p:cNvPr>
          <p:cNvSpPr txBox="1"/>
          <p:nvPr/>
        </p:nvSpPr>
        <p:spPr>
          <a:xfrm>
            <a:off x="210299" y="1095927"/>
            <a:ext cx="7681676" cy="5035353"/>
          </a:xfrm>
          <a:prstGeom prst="rect">
            <a:avLst/>
          </a:prstGeom>
          <a:noFill/>
        </p:spPr>
        <p:txBody>
          <a:bodyPr wrap="square" lIns="91440" tIns="45720" rIns="91440" bIns="45720" rtlCol="0" anchor="t">
            <a:spAutoFit/>
          </a:bodyPr>
          <a:lstStyle/>
          <a:p>
            <a:pPr marL="0" marR="0" lvl="0" indent="0" algn="l" defTabSz="932958" rtl="0" eaLnBrk="0" fontAlgn="base" latinLnBrk="0" hangingPunct="0">
              <a:lnSpc>
                <a:spcPct val="150000"/>
              </a:lnSpc>
              <a:spcBef>
                <a:spcPct val="0"/>
              </a:spcBef>
              <a:spcAft>
                <a:spcPct val="0"/>
              </a:spcAft>
              <a:buClr>
                <a:srgbClr val="0070C0"/>
              </a:buClr>
              <a:buSzTx/>
              <a:buFontTx/>
              <a:buNone/>
              <a:tabLst/>
              <a:defRPr/>
            </a:pPr>
            <a:r>
              <a:rPr kumimoji="0" lang="en-US" b="1"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frican Continental Power Systems Masterplan:</a:t>
            </a:r>
          </a:p>
          <a:p>
            <a:pPr marL="466481" indent="-466481" defTabSz="932962" eaLnBrk="0" fontAlgn="base" hangingPunct="0">
              <a:lnSpc>
                <a:spcPct val="150000"/>
              </a:lnSpc>
              <a:spcBef>
                <a:spcPct val="0"/>
              </a:spcBef>
              <a:spcAft>
                <a:spcPct val="0"/>
              </a:spcAft>
              <a:buClr>
                <a:srgbClr val="0070C0"/>
              </a:buClr>
              <a:buFont typeface="Wingdings" panose="05000000000000000000" pitchFamily="2" charset="2"/>
              <a:buChar char="Ø"/>
            </a:pPr>
            <a:r>
              <a:rPr lang="en-US" sz="1800" dirty="0">
                <a:solidFill>
                  <a:srgbClr val="000000"/>
                </a:solidFill>
                <a:latin typeface="Calibri" panose="020F0502020204030204" pitchFamily="34" charset="0"/>
                <a:ea typeface="Calibri" panose="020F0502020204030204" pitchFamily="34" charset="0"/>
                <a:cs typeface="Calibri" panose="020F0502020204030204" pitchFamily="34" charset="0"/>
              </a:rPr>
              <a:t>A continent-</a:t>
            </a: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wide collaborative process of African power pools and AUDA-NEPAD to plan the electricity generation and transmission and promote capacity building in energy planning</a:t>
            </a:r>
          </a:p>
          <a:p>
            <a:pPr marL="466481" indent="-466481" defTabSz="932962" eaLnBrk="0" fontAlgn="base" hangingPunct="0">
              <a:lnSpc>
                <a:spcPct val="150000"/>
              </a:lnSpc>
              <a:spcBef>
                <a:spcPct val="0"/>
              </a:spcBef>
              <a:spcAft>
                <a:spcPct val="0"/>
              </a:spcAft>
              <a:buClr>
                <a:srgbClr val="0070C0"/>
              </a:buClr>
              <a:buFont typeface="Wingdings" panose="05000000000000000000" pitchFamily="2" charset="2"/>
              <a:buChar char="Ø"/>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In 37</a:t>
            </a:r>
            <a:r>
              <a:rPr lang="en-US" baseline="30000" dirty="0">
                <a:solidFill>
                  <a:srgbClr val="000000"/>
                </a:solidFill>
                <a:latin typeface="Calibri" panose="020F0502020204030204" pitchFamily="34" charset="0"/>
                <a:ea typeface="Calibri" panose="020F0502020204030204" pitchFamily="34" charset="0"/>
                <a:cs typeface="Calibri" panose="020F0502020204030204" pitchFamily="34" charset="0"/>
              </a:rPr>
              <a:t>th</a:t>
            </a: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 AU assembly on 17-18 Feb, the African heads of States officially endorsed the first CMP plan entailing African energy transition scenarios up to 2040, as AU’s flagship project under Agenda 2063 </a:t>
            </a:r>
          </a:p>
          <a:p>
            <a:pPr marL="466481" indent="-466481" defTabSz="932962" eaLnBrk="0" fontAlgn="base" hangingPunct="0">
              <a:lnSpc>
                <a:spcPct val="150000"/>
              </a:lnSpc>
              <a:spcBef>
                <a:spcPct val="0"/>
              </a:spcBef>
              <a:spcAft>
                <a:spcPct val="0"/>
              </a:spcAft>
              <a:buClr>
                <a:srgbClr val="0070C0"/>
              </a:buClr>
              <a:buFont typeface="Wingdings" panose="05000000000000000000" pitchFamily="2" charset="2"/>
              <a:buChar char="Ø"/>
            </a:pPr>
            <a:r>
              <a:rPr lang="en-US" sz="1800" dirty="0">
                <a:solidFill>
                  <a:srgbClr val="000000"/>
                </a:solidFill>
                <a:latin typeface="Calibri" panose="020F0502020204030204" pitchFamily="34" charset="0"/>
                <a:ea typeface="Calibri" panose="020F0502020204030204" pitchFamily="34" charset="0"/>
                <a:cs typeface="Calibri" panose="020F0502020204030204" pitchFamily="34" charset="0"/>
              </a:rPr>
              <a:t>IRENA is supporting the CMP initiative as official partner:</a:t>
            </a:r>
          </a:p>
          <a:p>
            <a:pPr marL="923290" lvl="1" indent="-466090" defTabSz="932962" eaLnBrk="0" fontAlgn="base" hangingPunct="0">
              <a:lnSpc>
                <a:spcPct val="150000"/>
              </a:lnSpc>
              <a:spcBef>
                <a:spcPct val="0"/>
              </a:spcBef>
              <a:spcAft>
                <a:spcPct val="0"/>
              </a:spcAft>
              <a:buClr>
                <a:srgbClr val="0070C0"/>
              </a:buClr>
              <a:buFont typeface="Wingdings" panose="05000000000000000000" pitchFamily="2" charset="2"/>
              <a:buChar char="Ø"/>
            </a:pPr>
            <a:r>
              <a:rPr lang="en-US" dirty="0">
                <a:solidFill>
                  <a:srgbClr val="000000"/>
                </a:solidFill>
                <a:latin typeface="Calibri"/>
                <a:ea typeface="Calibri" panose="020F0502020204030204" pitchFamily="34" charset="0"/>
                <a:cs typeface="Calibri"/>
              </a:rPr>
              <a:t>Organized a 3 year long training </a:t>
            </a:r>
            <a:r>
              <a:rPr lang="en-US" dirty="0" err="1">
                <a:solidFill>
                  <a:srgbClr val="000000"/>
                </a:solidFill>
                <a:latin typeface="Calibri"/>
                <a:ea typeface="Calibri" panose="020F0502020204030204" pitchFamily="34" charset="0"/>
                <a:cs typeface="Calibri"/>
              </a:rPr>
              <a:t>programme</a:t>
            </a:r>
            <a:r>
              <a:rPr lang="en-US" dirty="0">
                <a:solidFill>
                  <a:srgbClr val="000000"/>
                </a:solidFill>
                <a:latin typeface="Calibri"/>
                <a:ea typeface="Calibri" panose="020F0502020204030204" pitchFamily="34" charset="0"/>
                <a:cs typeface="Calibri"/>
              </a:rPr>
              <a:t> on generation modelling &amp; contributed </a:t>
            </a:r>
            <a:r>
              <a:rPr lang="en-US">
                <a:solidFill>
                  <a:srgbClr val="000000"/>
                </a:solidFill>
                <a:latin typeface="Calibri"/>
                <a:ea typeface="Calibri" panose="020F0502020204030204" pitchFamily="34" charset="0"/>
                <a:cs typeface="Calibri"/>
              </a:rPr>
              <a:t>to over 30 stakeholder meetings</a:t>
            </a:r>
          </a:p>
          <a:p>
            <a:pPr marL="923681" lvl="1" indent="-466481" defTabSz="932962" eaLnBrk="0" fontAlgn="base" hangingPunct="0">
              <a:lnSpc>
                <a:spcPct val="150000"/>
              </a:lnSpc>
              <a:spcBef>
                <a:spcPct val="0"/>
              </a:spcBef>
              <a:spcAft>
                <a:spcPct val="0"/>
              </a:spcAft>
              <a:buClr>
                <a:srgbClr val="0070C0"/>
              </a:buClr>
              <a:buFont typeface="Wingdings" panose="05000000000000000000" pitchFamily="2" charset="2"/>
              <a:buChar char="Ø"/>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Next in plan are the joint capacity building </a:t>
            </a:r>
            <a:r>
              <a:rPr lang="en-US" dirty="0" err="1">
                <a:solidFill>
                  <a:srgbClr val="000000"/>
                </a:solidFill>
                <a:latin typeface="Calibri" panose="020F0502020204030204" pitchFamily="34" charset="0"/>
                <a:ea typeface="Calibri" panose="020F0502020204030204" pitchFamily="34" charset="0"/>
                <a:cs typeface="Calibri" panose="020F0502020204030204" pitchFamily="34" charset="0"/>
              </a:rPr>
              <a:t>programme</a:t>
            </a: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 for East African Power Pool and outreach efforts on mobilizing finance for CMP</a:t>
            </a:r>
          </a:p>
        </p:txBody>
      </p:sp>
      <p:sp>
        <p:nvSpPr>
          <p:cNvPr id="2" name="Title 1">
            <a:extLst>
              <a:ext uri="{FF2B5EF4-FFF2-40B4-BE49-F238E27FC236}">
                <a16:creationId xmlns:a16="http://schemas.microsoft.com/office/drawing/2014/main" id="{6488B893-44C9-9035-3F08-FCF563521CDA}"/>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Support countries and regions to devise their own strategies: </a:t>
            </a:r>
            <a:r>
              <a:rPr kumimoji="0" lang="en-US" altLang="en-US" sz="2551" b="1" i="1" u="sng"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Continental</a:t>
            </a:r>
            <a:r>
              <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 level</a:t>
            </a:r>
          </a:p>
        </p:txBody>
      </p:sp>
      <p:pic>
        <p:nvPicPr>
          <p:cNvPr id="7" name="Picture 6">
            <a:extLst>
              <a:ext uri="{FF2B5EF4-FFF2-40B4-BE49-F238E27FC236}">
                <a16:creationId xmlns:a16="http://schemas.microsoft.com/office/drawing/2014/main" id="{63C8514F-8F0D-F35E-08A3-5C5A759202FE}"/>
              </a:ext>
            </a:extLst>
          </p:cNvPr>
          <p:cNvPicPr>
            <a:picLocks noChangeAspect="1"/>
          </p:cNvPicPr>
          <p:nvPr/>
        </p:nvPicPr>
        <p:blipFill>
          <a:blip r:embed="rId6"/>
          <a:stretch>
            <a:fillRect/>
          </a:stretch>
        </p:blipFill>
        <p:spPr>
          <a:xfrm>
            <a:off x="7729107" y="839064"/>
            <a:ext cx="2383746" cy="1792735"/>
          </a:xfrm>
          <a:prstGeom prst="rect">
            <a:avLst/>
          </a:prstGeom>
        </p:spPr>
      </p:pic>
      <p:pic>
        <p:nvPicPr>
          <p:cNvPr id="10" name="Picture 9">
            <a:extLst>
              <a:ext uri="{FF2B5EF4-FFF2-40B4-BE49-F238E27FC236}">
                <a16:creationId xmlns:a16="http://schemas.microsoft.com/office/drawing/2014/main" id="{8900015A-04C2-9E8D-10BC-235BBE6A6D61}"/>
              </a:ext>
            </a:extLst>
          </p:cNvPr>
          <p:cNvPicPr>
            <a:picLocks noChangeAspect="1"/>
          </p:cNvPicPr>
          <p:nvPr/>
        </p:nvPicPr>
        <p:blipFill>
          <a:blip r:embed="rId7"/>
          <a:stretch>
            <a:fillRect/>
          </a:stretch>
        </p:blipFill>
        <p:spPr>
          <a:xfrm>
            <a:off x="9330202" y="2308381"/>
            <a:ext cx="2613584" cy="1956905"/>
          </a:xfrm>
          <a:prstGeom prst="rect">
            <a:avLst/>
          </a:prstGeom>
        </p:spPr>
      </p:pic>
      <p:pic>
        <p:nvPicPr>
          <p:cNvPr id="12" name="Picture 11">
            <a:extLst>
              <a:ext uri="{FF2B5EF4-FFF2-40B4-BE49-F238E27FC236}">
                <a16:creationId xmlns:a16="http://schemas.microsoft.com/office/drawing/2014/main" id="{9D135700-EC22-F874-7A30-D4FD4C3C9526}"/>
              </a:ext>
            </a:extLst>
          </p:cNvPr>
          <p:cNvPicPr>
            <a:picLocks noChangeAspect="1"/>
          </p:cNvPicPr>
          <p:nvPr/>
        </p:nvPicPr>
        <p:blipFill>
          <a:blip r:embed="rId8"/>
          <a:stretch>
            <a:fillRect/>
          </a:stretch>
        </p:blipFill>
        <p:spPr>
          <a:xfrm>
            <a:off x="7729107" y="3755948"/>
            <a:ext cx="2383746" cy="1589164"/>
          </a:xfrm>
          <a:prstGeom prst="rect">
            <a:avLst/>
          </a:prstGeom>
        </p:spPr>
      </p:pic>
      <p:pic>
        <p:nvPicPr>
          <p:cNvPr id="13" name="Picture 12">
            <a:extLst>
              <a:ext uri="{FF2B5EF4-FFF2-40B4-BE49-F238E27FC236}">
                <a16:creationId xmlns:a16="http://schemas.microsoft.com/office/drawing/2014/main" id="{1FA8C262-DF97-1A63-A687-562FB90BD33A}"/>
              </a:ext>
            </a:extLst>
          </p:cNvPr>
          <p:cNvPicPr>
            <a:picLocks noChangeAspect="1"/>
          </p:cNvPicPr>
          <p:nvPr/>
        </p:nvPicPr>
        <p:blipFill>
          <a:blip r:embed="rId9"/>
          <a:stretch>
            <a:fillRect/>
          </a:stretch>
        </p:blipFill>
        <p:spPr>
          <a:xfrm>
            <a:off x="9604522" y="4637018"/>
            <a:ext cx="2377179" cy="1595731"/>
          </a:xfrm>
          <a:prstGeom prst="rect">
            <a:avLst/>
          </a:prstGeom>
        </p:spPr>
      </p:pic>
    </p:spTree>
    <p:extLst>
      <p:ext uri="{BB962C8B-B14F-4D97-AF65-F5344CB8AC3E}">
        <p14:creationId xmlns:p14="http://schemas.microsoft.com/office/powerpoint/2010/main" val="2092328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0D26F8-5F74-405F-B7D8-7B2C86DFBA3D}"/>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4" name="think-cell data - do not delete" hidden="1">
                        <a:extLst>
                          <a:ext uri="{FF2B5EF4-FFF2-40B4-BE49-F238E27FC236}">
                            <a16:creationId xmlns:a16="http://schemas.microsoft.com/office/drawing/2014/main" id="{190D26F8-5F74-405F-B7D8-7B2C86DFBA3D}"/>
                          </a:ext>
                        </a:extLst>
                      </p:cNvPr>
                      <p:cNvPicPr/>
                      <p:nvPr/>
                    </p:nvPicPr>
                    <p:blipFill>
                      <a:blip r:embed="rId5"/>
                      <a:stretch>
                        <a:fillRect/>
                      </a:stretch>
                    </p:blipFill>
                    <p:spPr>
                      <a:xfrm>
                        <a:off x="1711" y="1621"/>
                        <a:ext cx="1620" cy="1620"/>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46248936-C7E6-48DD-91DA-EAD275F750CE}"/>
              </a:ext>
            </a:extLst>
          </p:cNvPr>
          <p:cNvSpPr txBox="1"/>
          <p:nvPr/>
        </p:nvSpPr>
        <p:spPr>
          <a:xfrm>
            <a:off x="386639" y="734420"/>
            <a:ext cx="6489322" cy="2957861"/>
          </a:xfrm>
          <a:prstGeom prst="rect">
            <a:avLst/>
          </a:prstGeom>
          <a:noFill/>
        </p:spPr>
        <p:txBody>
          <a:bodyPr wrap="square" rtlCol="0">
            <a:spAutoFit/>
          </a:bodyPr>
          <a:lstStyle/>
          <a:p>
            <a:pPr marL="0" marR="0" lvl="0" indent="0" algn="l" defTabSz="932958" rtl="0" eaLnBrk="0" fontAlgn="base" latinLnBrk="0" hangingPunct="0">
              <a:lnSpc>
                <a:spcPct val="150000"/>
              </a:lnSpc>
              <a:spcBef>
                <a:spcPct val="0"/>
              </a:spcBef>
              <a:spcAft>
                <a:spcPct val="0"/>
              </a:spcAft>
              <a:buClr>
                <a:srgbClr val="0070C0"/>
              </a:buClr>
              <a:buSzTx/>
              <a:buFontTx/>
              <a:buNone/>
              <a:tabLst/>
              <a:defRPr/>
            </a:pPr>
            <a:r>
              <a:rPr kumimoji="0" lang="en-US"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utcomes:</a:t>
            </a:r>
          </a:p>
          <a:p>
            <a:pPr marL="466477" marR="0" lvl="0" indent="-466479" algn="l" defTabSz="932958" rtl="0" eaLnBrk="0" fontAlgn="base" latinLnBrk="0" hangingPunct="0">
              <a:lnSpc>
                <a:spcPct val="150000"/>
              </a:lnSpc>
              <a:spcBef>
                <a:spcPct val="0"/>
              </a:spcBef>
              <a:spcAft>
                <a:spcPct val="0"/>
              </a:spcAft>
              <a:buClr>
                <a:srgbClr val="0070C0"/>
              </a:buClr>
              <a:buSzTx/>
              <a:buFont typeface="Wingdings" panose="05000000000000000000" pitchFamily="2" charset="2"/>
              <a:buChar char="Ø"/>
              <a:tabLst/>
              <a:defRPr/>
            </a:pPr>
            <a:r>
              <a:rPr kumimoji="0" lang="en-US"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IRENA and GIZ </a:t>
            </a:r>
            <a:r>
              <a:rPr lang="en-US">
                <a:solidFill>
                  <a:srgbClr val="000000"/>
                </a:solidFill>
                <a:latin typeface="Calibri" panose="020F0502020204030204" pitchFamily="34" charset="0"/>
                <a:ea typeface="Calibri" panose="020F0502020204030204" pitchFamily="34" charset="0"/>
                <a:cs typeface="Calibri" panose="020F0502020204030204" pitchFamily="34" charset="0"/>
              </a:rPr>
              <a:t>supporting the Ministry of Petroleum and Energy in Power System Planning with 1+ year programme</a:t>
            </a:r>
          </a:p>
          <a:p>
            <a:pPr marL="466477" marR="0" lvl="0" indent="-466479" algn="l" defTabSz="932958" rtl="0" eaLnBrk="0" fontAlgn="base" latinLnBrk="0" hangingPunct="0">
              <a:lnSpc>
                <a:spcPct val="150000"/>
              </a:lnSpc>
              <a:spcBef>
                <a:spcPct val="0"/>
              </a:spcBef>
              <a:spcAft>
                <a:spcPct val="0"/>
              </a:spcAft>
              <a:buClr>
                <a:srgbClr val="0070C0"/>
              </a:buClr>
              <a:buSzTx/>
              <a:buFont typeface="Wingdings" panose="05000000000000000000" pitchFamily="2" charset="2"/>
              <a:buChar char="Ø"/>
              <a:tabLst/>
              <a:defRPr/>
            </a:pPr>
            <a:r>
              <a:rPr lang="en-US" b="1">
                <a:solidFill>
                  <a:srgbClr val="000000"/>
                </a:solidFill>
                <a:latin typeface="Calibri" panose="020F0502020204030204" pitchFamily="34" charset="0"/>
                <a:ea typeface="Calibri" panose="020F0502020204030204" pitchFamily="34" charset="0"/>
                <a:cs typeface="Calibri" panose="020F0502020204030204" pitchFamily="34" charset="0"/>
              </a:rPr>
              <a:t>Building capacity: </a:t>
            </a:r>
            <a:r>
              <a:rPr lang="en-US">
                <a:solidFill>
                  <a:srgbClr val="000000"/>
                </a:solidFill>
                <a:latin typeface="Calibri" panose="020F0502020204030204" pitchFamily="34" charset="0"/>
                <a:ea typeface="Calibri" panose="020F0502020204030204" pitchFamily="34" charset="0"/>
                <a:cs typeface="Calibri" panose="020F0502020204030204" pitchFamily="34" charset="0"/>
              </a:rPr>
              <a:t>National team trained on use of IRENA SPLAT-MESSAGE model for their own power system planning</a:t>
            </a:r>
          </a:p>
          <a:p>
            <a:pPr marL="466477" marR="0" lvl="0" indent="-466479" algn="l" defTabSz="932958" rtl="0" eaLnBrk="0" fontAlgn="base" latinLnBrk="0" hangingPunct="0">
              <a:lnSpc>
                <a:spcPct val="150000"/>
              </a:lnSpc>
              <a:spcBef>
                <a:spcPct val="0"/>
              </a:spcBef>
              <a:spcAft>
                <a:spcPct val="0"/>
              </a:spcAft>
              <a:buClr>
                <a:srgbClr val="0070C0"/>
              </a:buClr>
              <a:buSzTx/>
              <a:buFont typeface="Wingdings" panose="05000000000000000000" pitchFamily="2" charset="2"/>
              <a:buChar char="Ø"/>
              <a:tabLst/>
              <a:defRPr/>
            </a:pPr>
            <a:r>
              <a:rPr kumimoji="0" lang="en-US"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Establishing governance: </a:t>
            </a:r>
            <a:r>
              <a:rPr kumimoji="0" lang="en-US"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ross-divisional national team from every official planning institution</a:t>
            </a:r>
          </a:p>
        </p:txBody>
      </p:sp>
      <p:sp>
        <p:nvSpPr>
          <p:cNvPr id="2" name="Title 1">
            <a:extLst>
              <a:ext uri="{FF2B5EF4-FFF2-40B4-BE49-F238E27FC236}">
                <a16:creationId xmlns:a16="http://schemas.microsoft.com/office/drawing/2014/main" id="{6488B893-44C9-9035-3F08-FCF563521CDA}"/>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Example: Senegal Masterplan Development Support </a:t>
            </a:r>
            <a:r>
              <a:rPr kumimoji="0" lang="en-US" altLang="en-US" sz="2551" b="1" i="0" u="none" strike="noStrike" kern="1200" cap="none" spc="0" normalizeH="0" baseline="0" noProof="0" err="1">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Programme</a:t>
            </a:r>
            <a:endPar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descr="A group of people sitting at tables with laptops&#10;&#10;Description automatically generated">
            <a:extLst>
              <a:ext uri="{FF2B5EF4-FFF2-40B4-BE49-F238E27FC236}">
                <a16:creationId xmlns:a16="http://schemas.microsoft.com/office/drawing/2014/main" id="{87FE0689-6308-874F-6178-153FF3AA2F9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69708" y="791844"/>
            <a:ext cx="3958961" cy="2694580"/>
          </a:xfrm>
          <a:prstGeom prst="rect">
            <a:avLst/>
          </a:prstGeom>
        </p:spPr>
      </p:pic>
      <p:sp>
        <p:nvSpPr>
          <p:cNvPr id="10" name="TextBox 9">
            <a:extLst>
              <a:ext uri="{FF2B5EF4-FFF2-40B4-BE49-F238E27FC236}">
                <a16:creationId xmlns:a16="http://schemas.microsoft.com/office/drawing/2014/main" id="{F5563484-787C-AD66-7027-1CEDF30A9232}"/>
              </a:ext>
            </a:extLst>
          </p:cNvPr>
          <p:cNvSpPr txBox="1"/>
          <p:nvPr/>
        </p:nvSpPr>
        <p:spPr>
          <a:xfrm>
            <a:off x="7031435" y="3655829"/>
            <a:ext cx="4254420" cy="369332"/>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Calibri" panose="020F0502020204030204" pitchFamily="34" charset="0"/>
              </a:rPr>
              <a:t>1</a:t>
            </a:r>
            <a:r>
              <a:rPr lang="en-US" baseline="30000">
                <a:latin typeface="Calibri" panose="020F0502020204030204" pitchFamily="34" charset="0"/>
                <a:ea typeface="Calibri" panose="020F0502020204030204" pitchFamily="34" charset="0"/>
                <a:cs typeface="Calibri" panose="020F0502020204030204" pitchFamily="34" charset="0"/>
              </a:rPr>
              <a:t>st</a:t>
            </a:r>
            <a:r>
              <a:rPr lang="en-US">
                <a:latin typeface="Calibri" panose="020F0502020204030204" pitchFamily="34" charset="0"/>
                <a:ea typeface="Calibri" panose="020F0502020204030204" pitchFamily="34" charset="0"/>
                <a:cs typeface="Calibri" panose="020F0502020204030204" pitchFamily="34" charset="0"/>
              </a:rPr>
              <a:t> Training 19-23 June 2023 Dakar, Senegal</a:t>
            </a:r>
            <a:endParaRPr lang="en-GB">
              <a:latin typeface="Calibri" panose="020F0502020204030204" pitchFamily="34" charset="0"/>
              <a:ea typeface="Calibri" panose="020F0502020204030204" pitchFamily="34" charset="0"/>
              <a:cs typeface="Calibri" panose="020F0502020204030204" pitchFamily="34" charset="0"/>
            </a:endParaRPr>
          </a:p>
        </p:txBody>
      </p:sp>
      <p:pic>
        <p:nvPicPr>
          <p:cNvPr id="13" name="Picture 12" descr="A group of people posing for a photo&#10;&#10;Description automatically generated">
            <a:extLst>
              <a:ext uri="{FF2B5EF4-FFF2-40B4-BE49-F238E27FC236}">
                <a16:creationId xmlns:a16="http://schemas.microsoft.com/office/drawing/2014/main" id="{77C2BB75-2B02-4B2F-13B8-DFB39264A73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19195" y="4194566"/>
            <a:ext cx="3729994" cy="2538739"/>
          </a:xfrm>
          <a:prstGeom prst="rect">
            <a:avLst/>
          </a:prstGeom>
        </p:spPr>
      </p:pic>
      <p:sp>
        <p:nvSpPr>
          <p:cNvPr id="14" name="TextBox 13">
            <a:extLst>
              <a:ext uri="{FF2B5EF4-FFF2-40B4-BE49-F238E27FC236}">
                <a16:creationId xmlns:a16="http://schemas.microsoft.com/office/drawing/2014/main" id="{5DAB09FB-365A-3916-261E-31D11EE2F01C}"/>
              </a:ext>
            </a:extLst>
          </p:cNvPr>
          <p:cNvSpPr txBox="1"/>
          <p:nvPr/>
        </p:nvSpPr>
        <p:spPr>
          <a:xfrm>
            <a:off x="9158645" y="5169392"/>
            <a:ext cx="3168957" cy="646331"/>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Calibri" panose="020F0502020204030204" pitchFamily="34" charset="0"/>
              </a:rPr>
              <a:t>2</a:t>
            </a:r>
            <a:r>
              <a:rPr lang="en-US" baseline="30000">
                <a:latin typeface="Calibri" panose="020F0502020204030204" pitchFamily="34" charset="0"/>
                <a:ea typeface="Calibri" panose="020F0502020204030204" pitchFamily="34" charset="0"/>
                <a:cs typeface="Calibri" panose="020F0502020204030204" pitchFamily="34" charset="0"/>
              </a:rPr>
              <a:t>nd</a:t>
            </a:r>
            <a:r>
              <a:rPr lang="en-US">
                <a:latin typeface="Calibri" panose="020F0502020204030204" pitchFamily="34" charset="0"/>
                <a:ea typeface="Calibri" panose="020F0502020204030204" pitchFamily="34" charset="0"/>
                <a:cs typeface="Calibri" panose="020F0502020204030204" pitchFamily="34" charset="0"/>
              </a:rPr>
              <a:t> Training 28 Aug-1 Sept 2023 Dakar, Senegal</a:t>
            </a:r>
            <a:endParaRPr lang="en-GB">
              <a:latin typeface="Calibri" panose="020F0502020204030204" pitchFamily="34" charset="0"/>
              <a:ea typeface="Calibri" panose="020F0502020204030204" pitchFamily="34" charset="0"/>
              <a:cs typeface="Calibri" panose="020F0502020204030204" pitchFamily="34" charset="0"/>
            </a:endParaRPr>
          </a:p>
        </p:txBody>
      </p:sp>
      <p:pic>
        <p:nvPicPr>
          <p:cNvPr id="17" name="Picture 16" descr="A group of people posing for a photo&#10;&#10;Description automatically generated">
            <a:extLst>
              <a:ext uri="{FF2B5EF4-FFF2-40B4-BE49-F238E27FC236}">
                <a16:creationId xmlns:a16="http://schemas.microsoft.com/office/drawing/2014/main" id="{AEC61209-1CFD-7129-06DC-BE8CBFD07F69}"/>
              </a:ext>
            </a:extLst>
          </p:cNvPr>
          <p:cNvPicPr>
            <a:picLocks noChangeAspect="1"/>
          </p:cNvPicPr>
          <p:nvPr/>
        </p:nvPicPr>
        <p:blipFill rotWithShape="1">
          <a:blip r:embed="rId8">
            <a:extLst>
              <a:ext uri="{28A0092B-C50C-407E-A947-70E740481C1C}">
                <a14:useLocalDpi xmlns:a14="http://schemas.microsoft.com/office/drawing/2010/main" val="0"/>
              </a:ext>
            </a:extLst>
          </a:blip>
          <a:srcRect t="17139"/>
          <a:stretch/>
        </p:blipFill>
        <p:spPr>
          <a:xfrm>
            <a:off x="600636" y="3647380"/>
            <a:ext cx="3998356" cy="2254985"/>
          </a:xfrm>
          <a:prstGeom prst="rect">
            <a:avLst/>
          </a:prstGeom>
        </p:spPr>
      </p:pic>
      <p:sp>
        <p:nvSpPr>
          <p:cNvPr id="18" name="TextBox 17">
            <a:extLst>
              <a:ext uri="{FF2B5EF4-FFF2-40B4-BE49-F238E27FC236}">
                <a16:creationId xmlns:a16="http://schemas.microsoft.com/office/drawing/2014/main" id="{8FD2D699-AFFA-9FA6-42D0-64E7DBD9A10A}"/>
              </a:ext>
            </a:extLst>
          </p:cNvPr>
          <p:cNvSpPr txBox="1"/>
          <p:nvPr/>
        </p:nvSpPr>
        <p:spPr>
          <a:xfrm>
            <a:off x="386639" y="5857464"/>
            <a:ext cx="5213182" cy="369332"/>
          </a:xfrm>
          <a:prstGeom prst="rect">
            <a:avLst/>
          </a:prstGeom>
          <a:noFill/>
        </p:spPr>
        <p:txBody>
          <a:bodyPr wrap="square" rtlCol="0">
            <a:spAutoFit/>
          </a:bodyPr>
          <a:lstStyle/>
          <a:p>
            <a:r>
              <a:rPr lang="en-US">
                <a:latin typeface="Calibri" panose="020F0502020204030204" pitchFamily="34" charset="0"/>
                <a:ea typeface="Calibri" panose="020F0502020204030204" pitchFamily="34" charset="0"/>
                <a:cs typeface="Calibri" panose="020F0502020204030204" pitchFamily="34" charset="0"/>
              </a:rPr>
              <a:t>Kick off Meeting 20-21 March 2023 Dakar, Senegal</a:t>
            </a:r>
            <a:endParaRPr lang="en-GB">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00089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509F2284-4388-814E-8682-B79994C9F71B}"/>
              </a:ext>
            </a:extLst>
          </p:cNvPr>
          <p:cNvSpPr txBox="1"/>
          <p:nvPr/>
        </p:nvSpPr>
        <p:spPr>
          <a:xfrm>
            <a:off x="947738" y="1150468"/>
            <a:ext cx="11244262"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SPEAKERS</a:t>
            </a:r>
            <a:endPar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2A345EC5-21F6-C84D-B3BF-199153A6274F}"/>
              </a:ext>
            </a:extLst>
          </p:cNvPr>
          <p:cNvSpPr txBox="1"/>
          <p:nvPr/>
        </p:nvSpPr>
        <p:spPr>
          <a:xfrm>
            <a:off x="6344118" y="4676480"/>
            <a:ext cx="2149237"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prstClr val="white"/>
                </a:solidFill>
                <a:latin typeface="Calibri" panose="020F0502020204030204"/>
              </a:rPr>
              <a:t>Angela Mutsotso </a:t>
            </a:r>
            <a:r>
              <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rPr>
              <a:t>IRENA</a:t>
            </a:r>
          </a:p>
        </p:txBody>
      </p:sp>
      <p:sp>
        <p:nvSpPr>
          <p:cNvPr id="8" name="TextBox 7">
            <a:extLst>
              <a:ext uri="{FF2B5EF4-FFF2-40B4-BE49-F238E27FC236}">
                <a16:creationId xmlns:a16="http://schemas.microsoft.com/office/drawing/2014/main" id="{9E07BC79-0BDB-C245-AAF9-61FB14243ED6}"/>
              </a:ext>
            </a:extLst>
          </p:cNvPr>
          <p:cNvSpPr txBox="1"/>
          <p:nvPr/>
        </p:nvSpPr>
        <p:spPr>
          <a:xfrm>
            <a:off x="3180523" y="4676480"/>
            <a:ext cx="23138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prstClr val="white"/>
                </a:solidFill>
                <a:latin typeface="Calibri" panose="020F0502020204030204"/>
              </a:rPr>
              <a:t>Juan Jose Gracia</a:t>
            </a:r>
            <a:endParaRPr kumimoji="0" lang="en-GB" sz="1800" b="1"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E" sz="1800" b="0" i="0" u="none" strike="noStrike" kern="1200" cap="none" spc="0" normalizeH="0" baseline="0" noProof="0" dirty="0">
                <a:ln>
                  <a:noFill/>
                </a:ln>
                <a:solidFill>
                  <a:prstClr val="white"/>
                </a:solidFill>
                <a:effectLst/>
                <a:uLnTx/>
                <a:uFillTx/>
                <a:latin typeface="Calibri" panose="020F0502020204030204"/>
                <a:ea typeface="+mn-ea"/>
                <a:cs typeface="+mn-cs"/>
              </a:rPr>
              <a:t>IRENA</a:t>
            </a:r>
          </a:p>
        </p:txBody>
      </p:sp>
      <p:pic>
        <p:nvPicPr>
          <p:cNvPr id="3" name="Picture 2" descr="A person in a suit&#10;&#10;Description automatically generated">
            <a:extLst>
              <a:ext uri="{FF2B5EF4-FFF2-40B4-BE49-F238E27FC236}">
                <a16:creationId xmlns:a16="http://schemas.microsoft.com/office/drawing/2014/main" id="{8D60D6FC-E989-D272-6F71-FA966B1258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82835" y="2426173"/>
            <a:ext cx="2311586" cy="2250307"/>
          </a:xfrm>
          <a:prstGeom prst="rect">
            <a:avLst/>
          </a:prstGeom>
        </p:spPr>
      </p:pic>
      <p:pic>
        <p:nvPicPr>
          <p:cNvPr id="5" name="Picture 4" descr="A person wearing glasses and smiling&#10;&#10;Description automatically generated">
            <a:extLst>
              <a:ext uri="{FF2B5EF4-FFF2-40B4-BE49-F238E27FC236}">
                <a16:creationId xmlns:a16="http://schemas.microsoft.com/office/drawing/2014/main" id="{09AAD5FC-7C4B-6618-DC72-9B078A6BBF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44118" y="2303846"/>
            <a:ext cx="2005345" cy="2250307"/>
          </a:xfrm>
          <a:prstGeom prst="rect">
            <a:avLst/>
          </a:prstGeom>
        </p:spPr>
      </p:pic>
    </p:spTree>
    <p:extLst>
      <p:ext uri="{BB962C8B-B14F-4D97-AF65-F5344CB8AC3E}">
        <p14:creationId xmlns:p14="http://schemas.microsoft.com/office/powerpoint/2010/main" val="3775497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90D26F8-5F74-405F-B7D8-7B2C86DFBA3D}"/>
              </a:ext>
            </a:extLst>
          </p:cNvPr>
          <p:cNvGraphicFramePr>
            <a:graphicFrameLocks noChangeAspect="1"/>
          </p:cNvGraphicFramePr>
          <p:nvPr>
            <p:custDataLst>
              <p:tags r:id="rId1"/>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name="think-cell Slide" r:id="rId4" imgW="524" imgH="526" progId="TCLayout.ActiveDocument.1">
                  <p:embed/>
                </p:oleObj>
              </mc:Choice>
              <mc:Fallback>
                <p:oleObj name="think-cell Slide" r:id="rId4" imgW="524" imgH="526" progId="TCLayout.ActiveDocument.1">
                  <p:embed/>
                  <p:pic>
                    <p:nvPicPr>
                      <p:cNvPr id="4" name="think-cell data - do not delete" hidden="1">
                        <a:extLst>
                          <a:ext uri="{FF2B5EF4-FFF2-40B4-BE49-F238E27FC236}">
                            <a16:creationId xmlns:a16="http://schemas.microsoft.com/office/drawing/2014/main" id="{190D26F8-5F74-405F-B7D8-7B2C86DFBA3D}"/>
                          </a:ext>
                        </a:extLst>
                      </p:cNvPr>
                      <p:cNvPicPr/>
                      <p:nvPr/>
                    </p:nvPicPr>
                    <p:blipFill>
                      <a:blip r:embed="rId5"/>
                      <a:stretch>
                        <a:fillRect/>
                      </a:stretch>
                    </p:blipFill>
                    <p:spPr>
                      <a:xfrm>
                        <a:off x="1711" y="1621"/>
                        <a:ext cx="1620" cy="1620"/>
                      </a:xfrm>
                      <a:prstGeom prst="rect">
                        <a:avLst/>
                      </a:prstGeom>
                    </p:spPr>
                  </p:pic>
                </p:oleObj>
              </mc:Fallback>
            </mc:AlternateContent>
          </a:graphicData>
        </a:graphic>
      </p:graphicFrame>
      <p:pic>
        <p:nvPicPr>
          <p:cNvPr id="101378" name="Picture 2" descr="Capacity Building on LTEP Cameroon">
            <a:extLst>
              <a:ext uri="{FF2B5EF4-FFF2-40B4-BE49-F238E27FC236}">
                <a16:creationId xmlns:a16="http://schemas.microsoft.com/office/drawing/2014/main" id="{0E9DD925-ED13-4C6D-BAA0-E9908C7BF53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8053" y="731559"/>
            <a:ext cx="7162566" cy="269744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E229B44-F826-4C5A-8309-7F38E06E3F37}"/>
              </a:ext>
            </a:extLst>
          </p:cNvPr>
          <p:cNvPicPr>
            <a:picLocks noChangeAspect="1"/>
          </p:cNvPicPr>
          <p:nvPr/>
        </p:nvPicPr>
        <p:blipFill rotWithShape="1">
          <a:blip r:embed="rId7"/>
          <a:srcRect t="1998" b="58712"/>
          <a:stretch/>
        </p:blipFill>
        <p:spPr>
          <a:xfrm>
            <a:off x="7538485" y="492329"/>
            <a:ext cx="3953402" cy="2292478"/>
          </a:xfrm>
          <a:prstGeom prst="rect">
            <a:avLst/>
          </a:prstGeom>
        </p:spPr>
      </p:pic>
      <p:pic>
        <p:nvPicPr>
          <p:cNvPr id="12" name="Picture 11">
            <a:extLst>
              <a:ext uri="{FF2B5EF4-FFF2-40B4-BE49-F238E27FC236}">
                <a16:creationId xmlns:a16="http://schemas.microsoft.com/office/drawing/2014/main" id="{730E23D5-AB79-4C0F-B0A2-B89FE030F214}"/>
              </a:ext>
            </a:extLst>
          </p:cNvPr>
          <p:cNvPicPr>
            <a:picLocks noChangeAspect="1"/>
          </p:cNvPicPr>
          <p:nvPr/>
        </p:nvPicPr>
        <p:blipFill>
          <a:blip r:embed="rId8"/>
          <a:stretch>
            <a:fillRect/>
          </a:stretch>
        </p:blipFill>
        <p:spPr>
          <a:xfrm>
            <a:off x="7230140" y="4389329"/>
            <a:ext cx="4261747" cy="2348696"/>
          </a:xfrm>
          <a:prstGeom prst="rect">
            <a:avLst/>
          </a:prstGeom>
        </p:spPr>
      </p:pic>
      <p:pic>
        <p:nvPicPr>
          <p:cNvPr id="16" name="Picture 15">
            <a:extLst>
              <a:ext uri="{FF2B5EF4-FFF2-40B4-BE49-F238E27FC236}">
                <a16:creationId xmlns:a16="http://schemas.microsoft.com/office/drawing/2014/main" id="{9C2B0153-DD0F-450C-B694-98E9165D606D}"/>
              </a:ext>
            </a:extLst>
          </p:cNvPr>
          <p:cNvPicPr>
            <a:picLocks noChangeAspect="1"/>
          </p:cNvPicPr>
          <p:nvPr/>
        </p:nvPicPr>
        <p:blipFill>
          <a:blip r:embed="rId9"/>
          <a:stretch>
            <a:fillRect/>
          </a:stretch>
        </p:blipFill>
        <p:spPr>
          <a:xfrm>
            <a:off x="7981987" y="2839757"/>
            <a:ext cx="1581999" cy="1400854"/>
          </a:xfrm>
          <a:prstGeom prst="rect">
            <a:avLst/>
          </a:prstGeom>
        </p:spPr>
      </p:pic>
      <p:sp>
        <p:nvSpPr>
          <p:cNvPr id="2" name="Title 1">
            <a:extLst>
              <a:ext uri="{FF2B5EF4-FFF2-40B4-BE49-F238E27FC236}">
                <a16:creationId xmlns:a16="http://schemas.microsoft.com/office/drawing/2014/main" id="{6488B893-44C9-9035-3F08-FCF563521CDA}"/>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Example: Cameroon national </a:t>
            </a:r>
            <a:r>
              <a:rPr kumimoji="0" lang="en-US" altLang="en-US" sz="2551" b="1" i="0" u="none" strike="noStrike" kern="1200" cap="none" spc="0" normalizeH="0" baseline="0" noProof="0" err="1">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programme</a:t>
            </a:r>
            <a:endParaRPr kumimoji="0" lang="en-US" altLang="en-US" sz="2551"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3" name="TextBox 2">
            <a:extLst>
              <a:ext uri="{FF2B5EF4-FFF2-40B4-BE49-F238E27FC236}">
                <a16:creationId xmlns:a16="http://schemas.microsoft.com/office/drawing/2014/main" id="{3D16E767-6142-535A-33B3-60DE5C969874}"/>
              </a:ext>
            </a:extLst>
          </p:cNvPr>
          <p:cNvSpPr txBox="1"/>
          <p:nvPr/>
        </p:nvSpPr>
        <p:spPr>
          <a:xfrm>
            <a:off x="97282" y="3331479"/>
            <a:ext cx="7364107" cy="3276282"/>
          </a:xfrm>
          <a:prstGeom prst="rect">
            <a:avLst/>
          </a:prstGeom>
          <a:noFill/>
        </p:spPr>
        <p:txBody>
          <a:bodyPr wrap="square" rtlCol="0">
            <a:spAutoFit/>
          </a:bodyPr>
          <a:lstStyle/>
          <a:p>
            <a:pPr marL="0" marR="0" lvl="0" indent="0" algn="l" defTabSz="932958" rtl="0" eaLnBrk="0" fontAlgn="base" latinLnBrk="0" hangingPunct="0">
              <a:lnSpc>
                <a:spcPct val="150000"/>
              </a:lnSpc>
              <a:spcBef>
                <a:spcPct val="0"/>
              </a:spcBef>
              <a:spcAft>
                <a:spcPct val="0"/>
              </a:spcAft>
              <a:buClr>
                <a:srgbClr val="0070C0"/>
              </a:buClr>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utcomes:</a:t>
            </a:r>
          </a:p>
          <a:p>
            <a:pPr marL="466477" marR="0" lvl="0" indent="-466479" algn="l" defTabSz="932958" rtl="0" eaLnBrk="0" fontAlgn="base" latinLnBrk="0" hangingPunct="0">
              <a:lnSpc>
                <a:spcPct val="150000"/>
              </a:lnSpc>
              <a:spcBef>
                <a:spcPct val="0"/>
              </a:spcBef>
              <a:spcAft>
                <a:spcPct val="0"/>
              </a:spcAft>
              <a:buClr>
                <a:srgbClr val="0070C0"/>
              </a:buClr>
              <a:buSzTx/>
              <a:buFont typeface="Wingdings" panose="05000000000000000000" pitchFamily="2" charset="2"/>
              <a:buChar char="Ø"/>
              <a:tabLst/>
              <a:defRPr/>
            </a:pPr>
            <a:r>
              <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New inter-agency planning structures formed in the government </a:t>
            </a:r>
          </a:p>
          <a:p>
            <a:pPr marL="466477" marR="0" lvl="0" indent="-466479" algn="l" defTabSz="932958" rtl="0" eaLnBrk="0" fontAlgn="base" latinLnBrk="0" hangingPunct="0">
              <a:lnSpc>
                <a:spcPct val="150000"/>
              </a:lnSpc>
              <a:spcBef>
                <a:spcPct val="0"/>
              </a:spcBef>
              <a:spcAft>
                <a:spcPct val="0"/>
              </a:spcAft>
              <a:buClr>
                <a:srgbClr val="0070C0"/>
              </a:buClr>
              <a:buSzTx/>
              <a:buFont typeface="Wingdings" panose="05000000000000000000" pitchFamily="2" charset="2"/>
              <a:buChar char="Ø"/>
              <a:tabLst/>
              <a:defRPr/>
            </a:pPr>
            <a:r>
              <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Ca. 300 hours of training for 20+ staff over 1.5 years</a:t>
            </a:r>
          </a:p>
          <a:p>
            <a:pPr marL="466477" indent="-466479" defTabSz="932958" eaLnBrk="0" fontAlgn="base" hangingPunct="0">
              <a:lnSpc>
                <a:spcPct val="150000"/>
              </a:lnSpc>
              <a:spcBef>
                <a:spcPct val="0"/>
              </a:spcBef>
              <a:spcAft>
                <a:spcPct val="0"/>
              </a:spcAft>
              <a:buClr>
                <a:srgbClr val="0070C0"/>
              </a:buClr>
              <a:buFont typeface="Wingdings" panose="05000000000000000000" pitchFamily="2" charset="2"/>
              <a:buChar char="Ø"/>
              <a:defRPr/>
            </a:pPr>
            <a:r>
              <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Six key scenarios developed using SPLAT-MESSAGE to explore official policy goals </a:t>
            </a:r>
          </a:p>
          <a:p>
            <a:pPr marL="466477" indent="-466479" defTabSz="932958" eaLnBrk="0" fontAlgn="base" hangingPunct="0">
              <a:lnSpc>
                <a:spcPct val="150000"/>
              </a:lnSpc>
              <a:spcBef>
                <a:spcPct val="0"/>
              </a:spcBef>
              <a:spcAft>
                <a:spcPct val="0"/>
              </a:spcAft>
              <a:buClr>
                <a:srgbClr val="0070C0"/>
              </a:buClr>
              <a:buFont typeface="Wingdings" panose="05000000000000000000" pitchFamily="2" charset="2"/>
              <a:buChar char="Ø"/>
              <a:defRPr/>
            </a:pPr>
            <a:r>
              <a:rPr kumimoji="0" lang="en-US" sz="2000" b="0" i="0" u="none" strike="noStrike" kern="1200" cap="none" spc="0" normalizeH="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Already being used as internal benchmark to screen project investments</a:t>
            </a:r>
            <a:endParaRPr kumimoji="0" lang="en-US" sz="2000" b="0" i="0" u="none" strike="noStrike" kern="12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02046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50B456-87A0-E14D-8734-01A378A70ED6}"/>
              </a:ext>
            </a:extLst>
          </p:cNvPr>
          <p:cNvPicPr>
            <a:picLocks noChangeAspect="1"/>
          </p:cNvPicPr>
          <p:nvPr/>
        </p:nvPicPr>
        <p:blipFill rotWithShape="1">
          <a:blip r:embed="rId3"/>
          <a:srcRect l="39698" t="3361" r="3760" b="39057"/>
          <a:stretch/>
        </p:blipFill>
        <p:spPr>
          <a:xfrm>
            <a:off x="0" y="1078467"/>
            <a:ext cx="12192000" cy="6858000"/>
          </a:xfrm>
          <a:prstGeom prst="rect">
            <a:avLst/>
          </a:prstGeom>
        </p:spPr>
      </p:pic>
      <p:sp>
        <p:nvSpPr>
          <p:cNvPr id="3" name="Rectangle 2">
            <a:extLst>
              <a:ext uri="{FF2B5EF4-FFF2-40B4-BE49-F238E27FC236}">
                <a16:creationId xmlns:a16="http://schemas.microsoft.com/office/drawing/2014/main" id="{7F4D0551-63BD-A848-910E-C64AFECC92F1}"/>
              </a:ext>
            </a:extLst>
          </p:cNvPr>
          <p:cNvSpPr/>
          <p:nvPr/>
        </p:nvSpPr>
        <p:spPr>
          <a:xfrm>
            <a:off x="4650210" y="2587858"/>
            <a:ext cx="3483403" cy="1085810"/>
          </a:xfrm>
          <a:prstGeom prst="rect">
            <a:avLst/>
          </a:prstGeom>
        </p:spPr>
        <p:txBody>
          <a:bodyPr wrap="square" lIns="91440" tIns="45720" rIns="91440" bIns="45720" anchor="t">
            <a:spAutoFit/>
          </a:bodyPr>
          <a:lstStyle/>
          <a:p>
            <a:pPr>
              <a:lnSpc>
                <a:spcPct val="150000"/>
              </a:lnSpc>
            </a:pPr>
            <a:r>
              <a:rPr lang="en-US" sz="4800" b="1" kern="0">
                <a:solidFill>
                  <a:srgbClr val="1371A1"/>
                </a:solidFill>
                <a:latin typeface="Calibri" panose="020F0502020204030204" pitchFamily="34" charset="0"/>
                <a:ea typeface="Calibri" panose="020F0502020204030204" pitchFamily="34" charset="0"/>
                <a:cs typeface="Calibri" panose="020F0502020204030204" pitchFamily="34" charset="0"/>
              </a:rPr>
              <a:t>Thank you!</a:t>
            </a:r>
            <a:endParaRPr lang="en-US" sz="3600" b="1" kern="0">
              <a:solidFill>
                <a:srgbClr val="1371A1"/>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D87D0F70-F454-9BA7-8CD7-46A08C90CB94}"/>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9758363" y="0"/>
            <a:ext cx="2433637" cy="855442"/>
          </a:xfrm>
          <a:prstGeom prst="rect">
            <a:avLst/>
          </a:prstGeom>
          <a:noFill/>
        </p:spPr>
      </p:pic>
      <p:pic>
        <p:nvPicPr>
          <p:cNvPr id="2" name="Picture 2">
            <a:extLst>
              <a:ext uri="{FF2B5EF4-FFF2-40B4-BE49-F238E27FC236}">
                <a16:creationId xmlns:a16="http://schemas.microsoft.com/office/drawing/2014/main" id="{B8C08C89-B703-98EA-565D-45EB8DFEC38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9400"/>
            <a:ext cx="2433637" cy="9107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37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1B06B96-C038-634E-AF97-91E5EBD85278}"/>
              </a:ext>
            </a:extLst>
          </p:cNvPr>
          <p:cNvPicPr>
            <a:picLocks noChangeAspect="1"/>
          </p:cNvPicPr>
          <p:nvPr/>
        </p:nvPicPr>
        <p:blipFill>
          <a:blip r:embed="rId2"/>
          <a:stretch>
            <a:fillRect/>
          </a:stretch>
        </p:blipFill>
        <p:spPr>
          <a:xfrm>
            <a:off x="5154175" y="1636265"/>
            <a:ext cx="1883649" cy="1472671"/>
          </a:xfrm>
          <a:prstGeom prst="rect">
            <a:avLst/>
          </a:prstGeom>
        </p:spPr>
      </p:pic>
      <p:sp>
        <p:nvSpPr>
          <p:cNvPr id="6" name="TextBox 5">
            <a:extLst>
              <a:ext uri="{FF2B5EF4-FFF2-40B4-BE49-F238E27FC236}">
                <a16:creationId xmlns:a16="http://schemas.microsoft.com/office/drawing/2014/main" id="{A6743591-9422-F641-9984-85EA6B522CED}"/>
              </a:ext>
            </a:extLst>
          </p:cNvPr>
          <p:cNvSpPr txBox="1"/>
          <p:nvPr/>
        </p:nvSpPr>
        <p:spPr>
          <a:xfrm>
            <a:off x="0" y="3268212"/>
            <a:ext cx="12192000"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a:ea typeface="+mn-ea"/>
                <a:cs typeface="+mn-cs"/>
              </a:rPr>
              <a:t>Q &amp;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10 min</a:t>
            </a:r>
            <a:endPar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19666158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6743591-9422-F641-9984-85EA6B522CED}"/>
              </a:ext>
            </a:extLst>
          </p:cNvPr>
          <p:cNvSpPr txBox="1"/>
          <p:nvPr/>
        </p:nvSpPr>
        <p:spPr>
          <a:xfrm>
            <a:off x="0" y="2074261"/>
            <a:ext cx="1219200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Calibri" panose="020F0502020204030204"/>
                <a:ea typeface="+mn-ea"/>
                <a:cs typeface="+mn-cs"/>
              </a:rPr>
              <a:t>THANK YOU FOR JOINING US!</a:t>
            </a:r>
            <a:endParaRPr kumimoji="0" lang="en-US" sz="40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
        <p:nvSpPr>
          <p:cNvPr id="4" name="TextBox 3">
            <a:extLst>
              <a:ext uri="{FF2B5EF4-FFF2-40B4-BE49-F238E27FC236}">
                <a16:creationId xmlns:a16="http://schemas.microsoft.com/office/drawing/2014/main" id="{45A02B8D-88A3-0341-9B16-791FD9EB58B3}"/>
              </a:ext>
            </a:extLst>
          </p:cNvPr>
          <p:cNvSpPr txBox="1"/>
          <p:nvPr/>
        </p:nvSpPr>
        <p:spPr>
          <a:xfrm>
            <a:off x="0" y="3298399"/>
            <a:ext cx="1219200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Calibri" panose="020F0502020204030204"/>
                <a:ea typeface="+mn-ea"/>
                <a:cs typeface="+mn-cs"/>
              </a:rPr>
              <a:t>SEE YOU IN OUR NEXT WEBIN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rPr>
              <a:t>www.irena.org/events/2020/Jun/IRENA-Insights</a:t>
            </a:r>
            <a:endParaRPr kumimoji="0" lang="en-US" sz="2800" b="1" i="0" u="none" strike="noStrike" kern="1200" cap="none" spc="0" normalizeH="0" baseline="0" noProof="0" dirty="0">
              <a:ln>
                <a:noFill/>
              </a:ln>
              <a:solidFill>
                <a:prstClr val="white"/>
              </a:solidFill>
              <a:effectLst/>
              <a:uLnTx/>
              <a:uFillTx/>
              <a:latin typeface="Calibri" panose="020F0502020204030204" pitchFamily="34" charset="0"/>
              <a:ea typeface="Verdana" panose="020B0604030504040204" pitchFamily="34" charset="0"/>
              <a:cs typeface="Calibri" panose="020F0502020204030204" pitchFamily="34" charset="0"/>
            </a:endParaRPr>
          </a:p>
        </p:txBody>
      </p:sp>
    </p:spTree>
    <p:extLst>
      <p:ext uri="{BB962C8B-B14F-4D97-AF65-F5344CB8AC3E}">
        <p14:creationId xmlns:p14="http://schemas.microsoft.com/office/powerpoint/2010/main" val="23312378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642178E-93A5-E442-82E5-DCDA27F03C0E}"/>
              </a:ext>
            </a:extLst>
          </p:cNvPr>
          <p:cNvSpPr txBox="1"/>
          <p:nvPr/>
        </p:nvSpPr>
        <p:spPr>
          <a:xfrm>
            <a:off x="947738" y="3501494"/>
            <a:ext cx="2827189"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Please make sure to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mute</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yourself during the session to avoid background noise</a:t>
            </a:r>
            <a:endParaRPr kumimoji="0" lang="en-GB"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73325012-7CB2-0946-8AB2-45097234E157}"/>
              </a:ext>
            </a:extLst>
          </p:cNvPr>
          <p:cNvPicPr>
            <a:picLocks noChangeAspect="1"/>
          </p:cNvPicPr>
          <p:nvPr/>
        </p:nvPicPr>
        <p:blipFill>
          <a:blip r:embed="rId3"/>
          <a:stretch>
            <a:fillRect/>
          </a:stretch>
        </p:blipFill>
        <p:spPr>
          <a:xfrm>
            <a:off x="1923817" y="2107838"/>
            <a:ext cx="875031" cy="1065632"/>
          </a:xfrm>
          <a:prstGeom prst="rect">
            <a:avLst/>
          </a:prstGeom>
        </p:spPr>
      </p:pic>
      <p:pic>
        <p:nvPicPr>
          <p:cNvPr id="15" name="Picture 14">
            <a:extLst>
              <a:ext uri="{FF2B5EF4-FFF2-40B4-BE49-F238E27FC236}">
                <a16:creationId xmlns:a16="http://schemas.microsoft.com/office/drawing/2014/main" id="{42458B9F-35A1-4846-94C0-B3A76484704E}"/>
              </a:ext>
            </a:extLst>
          </p:cNvPr>
          <p:cNvPicPr>
            <a:picLocks noChangeAspect="1"/>
          </p:cNvPicPr>
          <p:nvPr/>
        </p:nvPicPr>
        <p:blipFill>
          <a:blip r:embed="rId4"/>
          <a:stretch>
            <a:fillRect/>
          </a:stretch>
        </p:blipFill>
        <p:spPr>
          <a:xfrm>
            <a:off x="5230200" y="2033815"/>
            <a:ext cx="1770866" cy="1382400"/>
          </a:xfrm>
          <a:prstGeom prst="rect">
            <a:avLst/>
          </a:prstGeom>
        </p:spPr>
      </p:pic>
      <p:sp>
        <p:nvSpPr>
          <p:cNvPr id="17" name="TextBox 16">
            <a:extLst>
              <a:ext uri="{FF2B5EF4-FFF2-40B4-BE49-F238E27FC236}">
                <a16:creationId xmlns:a16="http://schemas.microsoft.com/office/drawing/2014/main" id="{AEEAFAD9-AC95-4477-A694-D12221928C53}"/>
              </a:ext>
            </a:extLst>
          </p:cNvPr>
          <p:cNvSpPr txBox="1"/>
          <p:nvPr/>
        </p:nvSpPr>
        <p:spPr>
          <a:xfrm>
            <a:off x="4831972" y="3501494"/>
            <a:ext cx="282718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If you have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Questions</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to the speaker please use the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Q&amp;A</a:t>
            </a:r>
            <a:endPar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AB26B934-0606-7EE1-8E04-F4B746EAA7BE}"/>
              </a:ext>
            </a:extLst>
          </p:cNvPr>
          <p:cNvPicPr>
            <a:picLocks noChangeAspect="1"/>
          </p:cNvPicPr>
          <p:nvPr/>
        </p:nvPicPr>
        <p:blipFill>
          <a:blip r:embed="rId5"/>
          <a:stretch>
            <a:fillRect/>
          </a:stretch>
        </p:blipFill>
        <p:spPr>
          <a:xfrm>
            <a:off x="9360571" y="2071353"/>
            <a:ext cx="1188720" cy="1113485"/>
          </a:xfrm>
          <a:prstGeom prst="rect">
            <a:avLst/>
          </a:prstGeom>
        </p:spPr>
      </p:pic>
      <p:sp>
        <p:nvSpPr>
          <p:cNvPr id="3" name="TextBox 2">
            <a:extLst>
              <a:ext uri="{FF2B5EF4-FFF2-40B4-BE49-F238E27FC236}">
                <a16:creationId xmlns:a16="http://schemas.microsoft.com/office/drawing/2014/main" id="{F8A51397-E47A-4867-FD23-DE0E78E3E9DC}"/>
              </a:ext>
            </a:extLst>
          </p:cNvPr>
          <p:cNvSpPr txBox="1"/>
          <p:nvPr/>
        </p:nvSpPr>
        <p:spPr>
          <a:xfrm>
            <a:off x="8529502" y="3642824"/>
            <a:ext cx="2962178" cy="224676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If you encounter any technical issues, please connect via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phone</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or contact the </a:t>
            </a:r>
            <a:r>
              <a:rPr kumimoji="0" lang="en-US" sz="2000" b="1" i="0" u="none" strike="noStrike" kern="1200" cap="none" spc="0" normalizeH="0" baseline="0" noProof="0" dirty="0">
                <a:ln>
                  <a:noFill/>
                </a:ln>
                <a:solidFill>
                  <a:prstClr val="white"/>
                </a:solidFill>
                <a:effectLst/>
                <a:uLnTx/>
                <a:uFillTx/>
                <a:latin typeface="Calibri" panose="020F0502020204030204"/>
                <a:ea typeface="+mn-ea"/>
                <a:cs typeface="+mn-cs"/>
              </a:rPr>
              <a:t>Help Desk</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888.259.3826 or https://support.goto.com/webinar</a:t>
            </a:r>
            <a:endParaRPr kumimoji="0" lang="en-GB" sz="20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534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550B456-87A0-E14D-8734-01A378A70ED6}"/>
              </a:ext>
            </a:extLst>
          </p:cNvPr>
          <p:cNvPicPr>
            <a:picLocks noChangeAspect="1"/>
          </p:cNvPicPr>
          <p:nvPr/>
        </p:nvPicPr>
        <p:blipFill rotWithShape="1">
          <a:blip r:embed="rId3"/>
          <a:srcRect l="39698" t="3361" r="3760" b="39057"/>
          <a:stretch/>
        </p:blipFill>
        <p:spPr>
          <a:xfrm>
            <a:off x="-80318" y="2392272"/>
            <a:ext cx="12192000" cy="6858000"/>
          </a:xfrm>
          <a:prstGeom prst="rect">
            <a:avLst/>
          </a:prstGeom>
        </p:spPr>
      </p:pic>
      <p:sp>
        <p:nvSpPr>
          <p:cNvPr id="3" name="Rectangle 2">
            <a:extLst>
              <a:ext uri="{FF2B5EF4-FFF2-40B4-BE49-F238E27FC236}">
                <a16:creationId xmlns:a16="http://schemas.microsoft.com/office/drawing/2014/main" id="{7F4D0551-63BD-A848-910E-C64AFECC92F1}"/>
              </a:ext>
            </a:extLst>
          </p:cNvPr>
          <p:cNvSpPr/>
          <p:nvPr/>
        </p:nvSpPr>
        <p:spPr>
          <a:xfrm>
            <a:off x="792842" y="1490008"/>
            <a:ext cx="10606316" cy="1938992"/>
          </a:xfrm>
          <a:prstGeom prst="rect">
            <a:avLst/>
          </a:prstGeom>
        </p:spPr>
        <p:txBody>
          <a:bodyPr wrap="square" lIns="91440" tIns="45720" rIns="91440" bIns="45720" anchor="t">
            <a:spAutoFit/>
          </a:bodyPr>
          <a:lstStyle/>
          <a:p>
            <a:pPr algn="ctr"/>
            <a:r>
              <a:rPr lang="en-US" sz="4000" b="1" kern="0" dirty="0">
                <a:solidFill>
                  <a:srgbClr val="1371A1"/>
                </a:solidFill>
                <a:latin typeface="Calibri" panose="020F0502020204030204" pitchFamily="34" charset="0"/>
                <a:ea typeface="Calibri" panose="020F0502020204030204" pitchFamily="34" charset="0"/>
                <a:cs typeface="Calibri" panose="020F0502020204030204" pitchFamily="34" charset="0"/>
              </a:rPr>
              <a:t>Long-Term Energy Scenarios for the Energy Transition: Experience and Good Practices in Africa</a:t>
            </a:r>
            <a:endParaRPr lang="en-US" sz="2800" b="1" kern="0" dirty="0">
              <a:solidFill>
                <a:srgbClr val="1371A1"/>
              </a:solidFill>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D87D0F70-F454-9BA7-8CD7-46A08C90CB94}"/>
              </a:ext>
            </a:extLst>
          </p:cNvPr>
          <p:cNvPicPr/>
          <p:nvPr/>
        </p:nvPicPr>
        <p:blipFill>
          <a:blip r:embed="rId4">
            <a:extLst>
              <a:ext uri="{28A0092B-C50C-407E-A947-70E740481C1C}">
                <a14:useLocalDpi xmlns:a14="http://schemas.microsoft.com/office/drawing/2010/main" val="0"/>
              </a:ext>
            </a:extLst>
          </a:blip>
          <a:stretch>
            <a:fillRect/>
          </a:stretch>
        </p:blipFill>
        <p:spPr bwMode="auto">
          <a:xfrm>
            <a:off x="9758363" y="0"/>
            <a:ext cx="2433637" cy="855442"/>
          </a:xfrm>
          <a:prstGeom prst="rect">
            <a:avLst/>
          </a:prstGeom>
          <a:noFill/>
        </p:spPr>
      </p:pic>
      <p:pic>
        <p:nvPicPr>
          <p:cNvPr id="2050" name="Picture 2">
            <a:extLst>
              <a:ext uri="{FF2B5EF4-FFF2-40B4-BE49-F238E27FC236}">
                <a16:creationId xmlns:a16="http://schemas.microsoft.com/office/drawing/2014/main" id="{404458E9-EE6D-AC70-3002-5F46F5CA706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9400"/>
            <a:ext cx="2433637" cy="91071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7D1883FB-1093-153B-8252-37B36572266A}"/>
              </a:ext>
            </a:extLst>
          </p:cNvPr>
          <p:cNvSpPr/>
          <p:nvPr/>
        </p:nvSpPr>
        <p:spPr>
          <a:xfrm>
            <a:off x="792842" y="3544295"/>
            <a:ext cx="10606316" cy="1938992"/>
          </a:xfrm>
          <a:prstGeom prst="rect">
            <a:avLst/>
          </a:prstGeom>
        </p:spPr>
        <p:txBody>
          <a:bodyPr wrap="square" lIns="91440" tIns="45720" rIns="91440" bIns="45720" anchor="t">
            <a:spAutoFit/>
          </a:bodyPr>
          <a:lstStyle/>
          <a:p>
            <a:pPr algn="ctr"/>
            <a:r>
              <a:rPr lang="en-US" sz="2400" b="1" kern="0" dirty="0">
                <a:solidFill>
                  <a:srgbClr val="1371A1"/>
                </a:solidFill>
                <a:latin typeface="Calibri" panose="020F0502020204030204" pitchFamily="34" charset="0"/>
                <a:ea typeface="Calibri" panose="020F0502020204030204" pitchFamily="34" charset="0"/>
                <a:cs typeface="Calibri" panose="020F0502020204030204" pitchFamily="34" charset="0"/>
              </a:rPr>
              <a:t>IRENA Insights webinar, 12 March 2024</a:t>
            </a:r>
          </a:p>
          <a:p>
            <a:pPr algn="ctr"/>
            <a:r>
              <a:rPr lang="en-US" sz="2400" b="1" kern="0" dirty="0">
                <a:solidFill>
                  <a:srgbClr val="1371A1"/>
                </a:solidFill>
                <a:latin typeface="Calibri" panose="020F0502020204030204" pitchFamily="34" charset="0"/>
                <a:ea typeface="Calibri" panose="020F0502020204030204" pitchFamily="34" charset="0"/>
                <a:cs typeface="Calibri" panose="020F0502020204030204" pitchFamily="34" charset="0"/>
              </a:rPr>
              <a:t>Juan Jose Gracia &amp; Angela Mutsotso</a:t>
            </a:r>
          </a:p>
          <a:p>
            <a:pPr algn="ctr"/>
            <a:endParaRPr lang="en-US" sz="2400" b="1" kern="0" dirty="0">
              <a:solidFill>
                <a:srgbClr val="1371A1"/>
              </a:solidFill>
              <a:latin typeface="Calibri" panose="020F0502020204030204" pitchFamily="34" charset="0"/>
              <a:ea typeface="Calibri" panose="020F0502020204030204" pitchFamily="34" charset="0"/>
              <a:cs typeface="Calibri" panose="020F0502020204030204" pitchFamily="34" charset="0"/>
            </a:endParaRPr>
          </a:p>
          <a:p>
            <a:pPr algn="ctr"/>
            <a:r>
              <a:rPr lang="en-US" sz="2400" b="1" i="1" kern="0" dirty="0">
                <a:solidFill>
                  <a:srgbClr val="1371A1"/>
                </a:solidFill>
                <a:latin typeface="Calibri" panose="020F0502020204030204" pitchFamily="34" charset="0"/>
                <a:ea typeface="Calibri" panose="020F0502020204030204" pitchFamily="34" charset="0"/>
                <a:cs typeface="Calibri" panose="020F0502020204030204" pitchFamily="34" charset="0"/>
              </a:rPr>
              <a:t>IRENA is grateful for the generous support of the Ministry of Foreign Affairs of Denmark in developing the Webinar Series and Report</a:t>
            </a:r>
            <a:endParaRPr lang="en-US" sz="1600" b="1" i="1" kern="0" dirty="0">
              <a:solidFill>
                <a:srgbClr val="1371A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868613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5B31196-49F9-0C49-D969-06220560E203}"/>
              </a:ext>
            </a:extLst>
          </p:cNvPr>
          <p:cNvSpPr/>
          <p:nvPr/>
        </p:nvSpPr>
        <p:spPr>
          <a:xfrm>
            <a:off x="278345" y="890591"/>
            <a:ext cx="3733280" cy="550627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0" name="Rectangle 19">
            <a:extLst>
              <a:ext uri="{FF2B5EF4-FFF2-40B4-BE49-F238E27FC236}">
                <a16:creationId xmlns:a16="http://schemas.microsoft.com/office/drawing/2014/main" id="{F5AA4ED2-5073-0E9A-4906-50157AA692B4}"/>
              </a:ext>
            </a:extLst>
          </p:cNvPr>
          <p:cNvSpPr/>
          <p:nvPr/>
        </p:nvSpPr>
        <p:spPr>
          <a:xfrm>
            <a:off x="278342" y="942275"/>
            <a:ext cx="3733280" cy="64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1. Institutional Capacity Building</a:t>
            </a:r>
          </a:p>
        </p:txBody>
      </p:sp>
      <p:sp>
        <p:nvSpPr>
          <p:cNvPr id="21" name="Rectangle 20">
            <a:extLst>
              <a:ext uri="{FF2B5EF4-FFF2-40B4-BE49-F238E27FC236}">
                <a16:creationId xmlns:a16="http://schemas.microsoft.com/office/drawing/2014/main" id="{E0EEC4C8-70CB-7A05-CAD6-B176E2418B4D}"/>
              </a:ext>
            </a:extLst>
          </p:cNvPr>
          <p:cNvSpPr/>
          <p:nvPr/>
        </p:nvSpPr>
        <p:spPr>
          <a:xfrm>
            <a:off x="4229361" y="890591"/>
            <a:ext cx="3733280" cy="550627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22" name="Rectangle 21">
            <a:extLst>
              <a:ext uri="{FF2B5EF4-FFF2-40B4-BE49-F238E27FC236}">
                <a16:creationId xmlns:a16="http://schemas.microsoft.com/office/drawing/2014/main" id="{AB5EFDEC-1E4B-DDC7-4C15-91F27482F2D1}"/>
              </a:ext>
            </a:extLst>
          </p:cNvPr>
          <p:cNvSpPr/>
          <p:nvPr/>
        </p:nvSpPr>
        <p:spPr>
          <a:xfrm>
            <a:off x="8180379" y="857413"/>
            <a:ext cx="3733280" cy="550627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6"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3" name="Rectangle 22">
            <a:extLst>
              <a:ext uri="{FF2B5EF4-FFF2-40B4-BE49-F238E27FC236}">
                <a16:creationId xmlns:a16="http://schemas.microsoft.com/office/drawing/2014/main" id="{BCF9D76C-6DE7-B9CA-F333-739EC9B1CE72}"/>
              </a:ext>
            </a:extLst>
          </p:cNvPr>
          <p:cNvSpPr/>
          <p:nvPr/>
        </p:nvSpPr>
        <p:spPr>
          <a:xfrm>
            <a:off x="4229361" y="942275"/>
            <a:ext cx="3733280" cy="64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2. Planning model development and applications</a:t>
            </a: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4" name="Rectangle 23">
            <a:extLst>
              <a:ext uri="{FF2B5EF4-FFF2-40B4-BE49-F238E27FC236}">
                <a16:creationId xmlns:a16="http://schemas.microsoft.com/office/drawing/2014/main" id="{CD0CB928-AC7E-FA81-BF2E-6BCB3A7132C1}"/>
              </a:ext>
            </a:extLst>
          </p:cNvPr>
          <p:cNvSpPr/>
          <p:nvPr/>
        </p:nvSpPr>
        <p:spPr>
          <a:xfrm>
            <a:off x="8176815" y="1593087"/>
            <a:ext cx="3733280" cy="64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eer-to-peer learning</a:t>
            </a:r>
          </a:p>
        </p:txBody>
      </p:sp>
      <p:pic>
        <p:nvPicPr>
          <p:cNvPr id="28" name="Picture 27">
            <a:extLst>
              <a:ext uri="{FF2B5EF4-FFF2-40B4-BE49-F238E27FC236}">
                <a16:creationId xmlns:a16="http://schemas.microsoft.com/office/drawing/2014/main" id="{087FF80E-DF65-8409-9A15-1000F9150436}"/>
              </a:ext>
            </a:extLst>
          </p:cNvPr>
          <p:cNvPicPr>
            <a:picLocks noChangeAspect="1"/>
          </p:cNvPicPr>
          <p:nvPr/>
        </p:nvPicPr>
        <p:blipFill rotWithShape="1">
          <a:blip r:embed="rId3"/>
          <a:srcRect l="2674" t="2215" r="3405" b="1885"/>
          <a:stretch/>
        </p:blipFill>
        <p:spPr>
          <a:xfrm>
            <a:off x="8857016" y="3266892"/>
            <a:ext cx="1627845" cy="2339954"/>
          </a:xfrm>
          <a:prstGeom prst="rect">
            <a:avLst/>
          </a:prstGeom>
          <a:effectLst>
            <a:outerShdw blurRad="50800" dist="38100" dir="2700000" algn="tl" rotWithShape="0">
              <a:prstClr val="black">
                <a:alpha val="40000"/>
              </a:prstClr>
            </a:outerShdw>
          </a:effectLst>
        </p:spPr>
      </p:pic>
      <p:pic>
        <p:nvPicPr>
          <p:cNvPr id="29" name="Picture 28">
            <a:extLst>
              <a:ext uri="{FF2B5EF4-FFF2-40B4-BE49-F238E27FC236}">
                <a16:creationId xmlns:a16="http://schemas.microsoft.com/office/drawing/2014/main" id="{00FFD57E-EDFB-14F7-F866-AFAB49FBF0D5}"/>
              </a:ext>
            </a:extLst>
          </p:cNvPr>
          <p:cNvPicPr>
            <a:picLocks noChangeAspect="1"/>
          </p:cNvPicPr>
          <p:nvPr/>
        </p:nvPicPr>
        <p:blipFill rotWithShape="1">
          <a:blip r:embed="rId4"/>
          <a:srcRect l="2164" t="1673" r="4309" b="1851"/>
          <a:stretch/>
        </p:blipFill>
        <p:spPr>
          <a:xfrm>
            <a:off x="9801928" y="2950861"/>
            <a:ext cx="1556154" cy="2257482"/>
          </a:xfrm>
          <a:prstGeom prst="rect">
            <a:avLst/>
          </a:prstGeom>
          <a:no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contourClr>
              <a:srgbClr val="FFFFFF"/>
            </a:contourClr>
          </a:sp3d>
        </p:spPr>
      </p:pic>
      <p:sp>
        <p:nvSpPr>
          <p:cNvPr id="30" name="TextBox 29">
            <a:extLst>
              <a:ext uri="{FF2B5EF4-FFF2-40B4-BE49-F238E27FC236}">
                <a16:creationId xmlns:a16="http://schemas.microsoft.com/office/drawing/2014/main" id="{959CD3D0-CC76-35DB-3422-4759B5FDE847}"/>
              </a:ext>
            </a:extLst>
          </p:cNvPr>
          <p:cNvSpPr txBox="1"/>
          <p:nvPr/>
        </p:nvSpPr>
        <p:spPr>
          <a:xfrm>
            <a:off x="8191802" y="5840474"/>
            <a:ext cx="3721854" cy="408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ttps://www.irena.org/energytransition/Energy-Transition-Scenarios-Network</a:t>
            </a:r>
          </a:p>
        </p:txBody>
      </p:sp>
      <p:pic>
        <p:nvPicPr>
          <p:cNvPr id="31" name="Picture 30">
            <a:extLst>
              <a:ext uri="{FF2B5EF4-FFF2-40B4-BE49-F238E27FC236}">
                <a16:creationId xmlns:a16="http://schemas.microsoft.com/office/drawing/2014/main" id="{F2EAFF0E-6A16-C86E-B31C-535B9233CBD9}"/>
              </a:ext>
            </a:extLst>
          </p:cNvPr>
          <p:cNvPicPr>
            <a:picLocks noChangeAspect="1"/>
          </p:cNvPicPr>
          <p:nvPr/>
        </p:nvPicPr>
        <p:blipFill>
          <a:blip r:embed="rId5"/>
          <a:stretch>
            <a:fillRect/>
          </a:stretch>
        </p:blipFill>
        <p:spPr>
          <a:xfrm>
            <a:off x="9221639" y="2225218"/>
            <a:ext cx="1814083" cy="589106"/>
          </a:xfrm>
          <a:prstGeom prst="rect">
            <a:avLst/>
          </a:prstGeom>
        </p:spPr>
      </p:pic>
      <p:graphicFrame>
        <p:nvGraphicFramePr>
          <p:cNvPr id="34" name="Diagram 33">
            <a:extLst>
              <a:ext uri="{FF2B5EF4-FFF2-40B4-BE49-F238E27FC236}">
                <a16:creationId xmlns:a16="http://schemas.microsoft.com/office/drawing/2014/main" id="{2BE903D7-6844-36CE-1FBB-EFBF82AA35EC}"/>
              </a:ext>
            </a:extLst>
          </p:cNvPr>
          <p:cNvGraphicFramePr/>
          <p:nvPr/>
        </p:nvGraphicFramePr>
        <p:xfrm>
          <a:off x="76126" y="1556481"/>
          <a:ext cx="4153234" cy="416088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3" name="TextBox 42">
            <a:extLst>
              <a:ext uri="{FF2B5EF4-FFF2-40B4-BE49-F238E27FC236}">
                <a16:creationId xmlns:a16="http://schemas.microsoft.com/office/drawing/2014/main" id="{33B5F2F0-558E-2C60-08D9-70D4A1FE16AF}"/>
              </a:ext>
            </a:extLst>
          </p:cNvPr>
          <p:cNvSpPr txBox="1"/>
          <p:nvPr/>
        </p:nvSpPr>
        <p:spPr>
          <a:xfrm>
            <a:off x="4240784" y="5848614"/>
            <a:ext cx="3695546" cy="40823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Planning and prospects for renewable power in Africa series” since 2012</a:t>
            </a:r>
          </a:p>
        </p:txBody>
      </p:sp>
      <p:sp>
        <p:nvSpPr>
          <p:cNvPr id="44" name="TextBox 43">
            <a:extLst>
              <a:ext uri="{FF2B5EF4-FFF2-40B4-BE49-F238E27FC236}">
                <a16:creationId xmlns:a16="http://schemas.microsoft.com/office/drawing/2014/main" id="{BC8073A2-8AD7-D2AD-1ECA-CD8F9875A3E5}"/>
              </a:ext>
            </a:extLst>
          </p:cNvPr>
          <p:cNvSpPr txBox="1"/>
          <p:nvPr/>
        </p:nvSpPr>
        <p:spPr>
          <a:xfrm>
            <a:off x="278341" y="5836165"/>
            <a:ext cx="3721859" cy="6123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ttps://www.irena.org/Energy-Transition/Planning/Long-term-energy-planning-support/Capacity-building-for-energy-planning-and-modelling</a:t>
            </a:r>
          </a:p>
        </p:txBody>
      </p:sp>
      <p:sp>
        <p:nvSpPr>
          <p:cNvPr id="5" name="Title 1">
            <a:extLst>
              <a:ext uri="{FF2B5EF4-FFF2-40B4-BE49-F238E27FC236}">
                <a16:creationId xmlns:a16="http://schemas.microsoft.com/office/drawing/2014/main" id="{EC1EC11E-3EB8-323A-5F58-4234924E9197}"/>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nSpc>
                <a:spcPct val="90000"/>
              </a:lnSpc>
              <a:spcBef>
                <a:spcPct val="0"/>
              </a:spcBef>
              <a:buNone/>
              <a:defRPr sz="2550" b="1">
                <a:solidFill>
                  <a:srgbClr val="0872A6"/>
                </a:solidFill>
                <a:ea typeface="MS PGothic"/>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550"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IRENA’s long term energy planning support portfolio</a:t>
            </a:r>
          </a:p>
        </p:txBody>
      </p:sp>
      <p:pic>
        <p:nvPicPr>
          <p:cNvPr id="10" name="Picture 9">
            <a:extLst>
              <a:ext uri="{FF2B5EF4-FFF2-40B4-BE49-F238E27FC236}">
                <a16:creationId xmlns:a16="http://schemas.microsoft.com/office/drawing/2014/main" id="{6053D8FF-DABB-59CA-03F4-6493919DC7F1}"/>
              </a:ext>
            </a:extLst>
          </p:cNvPr>
          <p:cNvPicPr>
            <a:picLocks noChangeAspect="1"/>
          </p:cNvPicPr>
          <p:nvPr/>
        </p:nvPicPr>
        <p:blipFill>
          <a:blip r:embed="rId11"/>
          <a:stretch>
            <a:fillRect/>
          </a:stretch>
        </p:blipFill>
        <p:spPr>
          <a:xfrm>
            <a:off x="4419413" y="2910056"/>
            <a:ext cx="1988877" cy="2807309"/>
          </a:xfrm>
          <a:prstGeom prst="rect">
            <a:avLst/>
          </a:prstGeom>
          <a:ln>
            <a:solidFill>
              <a:schemeClr val="bg2">
                <a:lumMod val="20000"/>
                <a:lumOff val="80000"/>
              </a:schemeClr>
            </a:solidFill>
          </a:ln>
        </p:spPr>
      </p:pic>
      <p:pic>
        <p:nvPicPr>
          <p:cNvPr id="11" name="Picture 10">
            <a:extLst>
              <a:ext uri="{FF2B5EF4-FFF2-40B4-BE49-F238E27FC236}">
                <a16:creationId xmlns:a16="http://schemas.microsoft.com/office/drawing/2014/main" id="{B7BB49C0-1862-63CE-C850-E3B6B7870D33}"/>
              </a:ext>
            </a:extLst>
          </p:cNvPr>
          <p:cNvPicPr>
            <a:picLocks noChangeAspect="1"/>
          </p:cNvPicPr>
          <p:nvPr/>
        </p:nvPicPr>
        <p:blipFill>
          <a:blip r:embed="rId12"/>
          <a:stretch>
            <a:fillRect/>
          </a:stretch>
        </p:blipFill>
        <p:spPr>
          <a:xfrm>
            <a:off x="5774344" y="2417191"/>
            <a:ext cx="2116486" cy="2963079"/>
          </a:xfrm>
          <a:prstGeom prst="rect">
            <a:avLst/>
          </a:prstGeom>
          <a:ln>
            <a:noFill/>
          </a:ln>
        </p:spPr>
      </p:pic>
      <p:sp>
        <p:nvSpPr>
          <p:cNvPr id="12" name="TextBox 11">
            <a:extLst>
              <a:ext uri="{FF2B5EF4-FFF2-40B4-BE49-F238E27FC236}">
                <a16:creationId xmlns:a16="http://schemas.microsoft.com/office/drawing/2014/main" id="{E4F77B20-5B88-19BA-4DC7-EF9D0B63A4C4}"/>
              </a:ext>
            </a:extLst>
          </p:cNvPr>
          <p:cNvSpPr txBox="1"/>
          <p:nvPr/>
        </p:nvSpPr>
        <p:spPr>
          <a:xfrm>
            <a:off x="4443535" y="1736257"/>
            <a:ext cx="3168559" cy="708866"/>
          </a:xfrm>
          <a:prstGeom prst="rect">
            <a:avLst/>
          </a:prstGeom>
          <a:noFill/>
        </p:spPr>
        <p:txBody>
          <a:bodyPr wrap="square" rtlCol="0">
            <a:spAutoFit/>
          </a:bodyPr>
          <a:lstStyle/>
          <a:p>
            <a:pPr marL="224051" marR="0" lvl="0" indent="-224051" algn="l" defTabSz="914400" rtl="0" eaLnBrk="1" fontAlgn="auto" latinLnBrk="0" hangingPunct="1">
              <a:lnSpc>
                <a:spcPct val="100000"/>
              </a:lnSpc>
              <a:spcBef>
                <a:spcPts val="588"/>
              </a:spcBef>
              <a:spcAft>
                <a:spcPts val="0"/>
              </a:spcAft>
              <a:buClr>
                <a:srgbClr val="0872A6"/>
              </a:buClr>
              <a:buSzTx/>
              <a:buFontTx/>
              <a:buChar char="»"/>
              <a:tabLst/>
              <a:defRPr/>
            </a:pPr>
            <a:r>
              <a:rPr kumimoji="0" lang="en-US" sz="1764"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SPLAT Starter model kits</a:t>
            </a:r>
          </a:p>
          <a:p>
            <a:pPr marL="224051" marR="0" lvl="0" indent="-224051" algn="l" defTabSz="914400" rtl="0" eaLnBrk="1" fontAlgn="auto" latinLnBrk="0" hangingPunct="1">
              <a:lnSpc>
                <a:spcPct val="100000"/>
              </a:lnSpc>
              <a:spcBef>
                <a:spcPts val="588"/>
              </a:spcBef>
              <a:spcAft>
                <a:spcPts val="0"/>
              </a:spcAft>
              <a:buClr>
                <a:srgbClr val="0872A6"/>
              </a:buClr>
              <a:buSzTx/>
              <a:buFontTx/>
              <a:buChar char="»"/>
              <a:tabLst/>
              <a:defRPr/>
            </a:pPr>
            <a:r>
              <a:rPr kumimoji="0" lang="en-US" sz="1764"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newable data for planning</a:t>
            </a:r>
          </a:p>
        </p:txBody>
      </p:sp>
      <p:sp>
        <p:nvSpPr>
          <p:cNvPr id="13" name="Rectangle 12">
            <a:extLst>
              <a:ext uri="{FF2B5EF4-FFF2-40B4-BE49-F238E27FC236}">
                <a16:creationId xmlns:a16="http://schemas.microsoft.com/office/drawing/2014/main" id="{5EC1D445-398F-36CE-1DA8-051D263A210B}"/>
              </a:ext>
            </a:extLst>
          </p:cNvPr>
          <p:cNvSpPr/>
          <p:nvPr/>
        </p:nvSpPr>
        <p:spPr>
          <a:xfrm>
            <a:off x="8176815" y="942275"/>
            <a:ext cx="3733280" cy="64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p>
            <a:pPr marL="0" marR="0" lvl="0" indent="0" algn="ctr" defTabSz="914396"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3. IRENA LTES Network</a:t>
            </a:r>
          </a:p>
        </p:txBody>
      </p:sp>
    </p:spTree>
    <p:extLst>
      <p:ext uri="{BB962C8B-B14F-4D97-AF65-F5344CB8AC3E}">
        <p14:creationId xmlns:p14="http://schemas.microsoft.com/office/powerpoint/2010/main" val="5596862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1EC11E-3EB8-323A-5F58-4234924E9197}"/>
              </a:ext>
            </a:extLst>
          </p:cNvPr>
          <p:cNvSpPr txBox="1">
            <a:spLocks/>
          </p:cNvSpPr>
          <p:nvPr/>
        </p:nvSpPr>
        <p:spPr>
          <a:xfrm>
            <a:off x="668320" y="497545"/>
            <a:ext cx="9646695" cy="484181"/>
          </a:xfrm>
          <a:prstGeom prst="rect">
            <a:avLst/>
          </a:prstGeom>
        </p:spPr>
        <p:txBody>
          <a:bodyPr vert="horz" lIns="91440" tIns="45720" rIns="91440" bIns="45720" rtlCol="0" anchor="ctr">
            <a:noAutofit/>
          </a:bodyPr>
          <a:lstStyle>
            <a:lvl1pPr>
              <a:lnSpc>
                <a:spcPct val="90000"/>
              </a:lnSpc>
              <a:spcBef>
                <a:spcPct val="0"/>
              </a:spcBef>
              <a:buNone/>
              <a:defRPr sz="2550" b="1">
                <a:solidFill>
                  <a:srgbClr val="0872A6"/>
                </a:solidFill>
                <a:ea typeface="MS PGothic"/>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altLang="en-US" sz="2550" b="1" i="0" u="none" strike="noStrike" kern="1200" cap="none" spc="0" normalizeH="0" baseline="0" noProof="0">
                <a:ln>
                  <a:noFill/>
                </a:ln>
                <a:solidFill>
                  <a:srgbClr val="0872A6"/>
                </a:solidFill>
                <a:effectLst/>
                <a:uLnTx/>
                <a:uFillTx/>
                <a:latin typeface="Calibri" panose="020F0502020204030204" pitchFamily="34" charset="0"/>
                <a:ea typeface="Calibri" panose="020F0502020204030204" pitchFamily="34" charset="0"/>
                <a:cs typeface="Calibri" panose="020F0502020204030204" pitchFamily="34" charset="0"/>
              </a:rPr>
              <a:t>What is long-term energy planning? What are the benefits?</a:t>
            </a:r>
          </a:p>
        </p:txBody>
      </p:sp>
      <p:sp>
        <p:nvSpPr>
          <p:cNvPr id="2" name="TextBox 1">
            <a:extLst>
              <a:ext uri="{FF2B5EF4-FFF2-40B4-BE49-F238E27FC236}">
                <a16:creationId xmlns:a16="http://schemas.microsoft.com/office/drawing/2014/main" id="{50E763B8-8925-DAB7-B5CC-A653464B5DBC}"/>
              </a:ext>
            </a:extLst>
          </p:cNvPr>
          <p:cNvSpPr txBox="1"/>
          <p:nvPr/>
        </p:nvSpPr>
        <p:spPr>
          <a:xfrm>
            <a:off x="766055" y="1184844"/>
            <a:ext cx="8425049" cy="1598596"/>
          </a:xfrm>
          <a:prstGeom prst="rect">
            <a:avLst/>
          </a:prstGeom>
          <a:noFill/>
        </p:spPr>
        <p:txBody>
          <a:bodyPr wrap="square" lIns="89616" tIns="44808" rIns="89616" bIns="44808" rtlCol="0" anchor="t">
            <a:spAutoFit/>
          </a:bodyPr>
          <a:lstStyle/>
          <a:p>
            <a:pPr defTabSz="896200" eaLnBrk="1" fontAlgn="auto" hangingPunct="1">
              <a:spcBef>
                <a:spcPts val="0"/>
              </a:spcBef>
              <a:spcAft>
                <a:spcPts val="0"/>
              </a:spcAft>
            </a:pPr>
            <a:r>
              <a:rPr lang="en-US" sz="1960" b="1" u="sng">
                <a:solidFill>
                  <a:prstClr val="black"/>
                </a:solidFill>
                <a:latin typeface="Calibri" panose="020F0502020204030204" pitchFamily="34" charset="0"/>
                <a:ea typeface="Calibri" panose="020F0502020204030204" pitchFamily="34" charset="0"/>
                <a:cs typeface="Calibri" panose="020F0502020204030204" pitchFamily="34" charset="0"/>
              </a:rPr>
              <a:t>Long-term energy planning, if done properly:</a:t>
            </a:r>
          </a:p>
          <a:p>
            <a:pPr marL="336074" indent="-336074" defTabSz="896200" eaLnBrk="1" fontAlgn="auto" hangingPunct="1">
              <a:spcBef>
                <a:spcPts val="0"/>
              </a:spcBef>
              <a:spcAft>
                <a:spcPts val="0"/>
              </a:spcAft>
              <a:buClr>
                <a:srgbClr val="0872A6"/>
              </a:buClr>
              <a:buFont typeface="Calibri" panose="020F0502020204030204" pitchFamily="34" charset="0"/>
              <a:buChar char="»"/>
            </a:pPr>
            <a:r>
              <a:rPr lang="en-US" sz="1960">
                <a:solidFill>
                  <a:prstClr val="black"/>
                </a:solidFill>
                <a:latin typeface="Calibri" panose="020F0502020204030204" pitchFamily="34" charset="0"/>
                <a:ea typeface="Calibri" panose="020F0502020204030204" pitchFamily="34" charset="0"/>
                <a:cs typeface="Calibri" panose="020F0502020204030204" pitchFamily="34" charset="0"/>
              </a:rPr>
              <a:t>Creates consensus among stakeholders</a:t>
            </a:r>
          </a:p>
          <a:p>
            <a:pPr marL="336074" indent="-336074" defTabSz="896200" eaLnBrk="1" fontAlgn="auto" hangingPunct="1">
              <a:spcBef>
                <a:spcPts val="0"/>
              </a:spcBef>
              <a:spcAft>
                <a:spcPts val="0"/>
              </a:spcAft>
              <a:buClr>
                <a:srgbClr val="0872A6"/>
              </a:buClr>
              <a:buFont typeface="Calibri" panose="020F0502020204030204" pitchFamily="34" charset="0"/>
              <a:buChar char="»"/>
            </a:pPr>
            <a:r>
              <a:rPr lang="en-US" sz="1960">
                <a:solidFill>
                  <a:prstClr val="black"/>
                </a:solidFill>
                <a:latin typeface="Calibri" panose="020F0502020204030204" pitchFamily="34" charset="0"/>
                <a:ea typeface="Calibri" panose="020F0502020204030204" pitchFamily="34" charset="0"/>
                <a:cs typeface="Calibri" panose="020F0502020204030204" pitchFamily="34" charset="0"/>
              </a:rPr>
              <a:t>Can help to avoid costly stop-gap solutions or investment mistakes</a:t>
            </a:r>
          </a:p>
          <a:p>
            <a:pPr marL="336074" indent="-336074" defTabSz="896200" eaLnBrk="1" fontAlgn="auto" hangingPunct="1">
              <a:spcBef>
                <a:spcPts val="0"/>
              </a:spcBef>
              <a:spcAft>
                <a:spcPts val="0"/>
              </a:spcAft>
              <a:buClr>
                <a:srgbClr val="0872A6"/>
              </a:buClr>
              <a:buFont typeface="Calibri" panose="020F0502020204030204" pitchFamily="34" charset="0"/>
              <a:buChar char="»"/>
            </a:pPr>
            <a:r>
              <a:rPr lang="en-US" sz="1960">
                <a:solidFill>
                  <a:prstClr val="black"/>
                </a:solidFill>
                <a:latin typeface="Calibri" panose="020F0502020204030204" pitchFamily="34" charset="0"/>
                <a:ea typeface="Calibri" panose="020F0502020204030204" pitchFamily="34" charset="0"/>
                <a:cs typeface="Calibri" panose="020F0502020204030204" pitchFamily="34" charset="0"/>
              </a:rPr>
              <a:t>Reduces uncertainties in policy direction and project selection</a:t>
            </a:r>
            <a:endParaRPr lang="en-US" sz="1568">
              <a:solidFill>
                <a:prstClr val="black"/>
              </a:solidFill>
              <a:latin typeface="Calibri" panose="020F0502020204030204" pitchFamily="34" charset="0"/>
              <a:ea typeface="Calibri" panose="020F0502020204030204" pitchFamily="34" charset="0"/>
              <a:cs typeface="Calibri" panose="020F0502020204030204" pitchFamily="34" charset="0"/>
            </a:endParaRPr>
          </a:p>
          <a:p>
            <a:pPr marL="336074" indent="-336074" defTabSz="896200" eaLnBrk="1" fontAlgn="auto" hangingPunct="1">
              <a:spcBef>
                <a:spcPts val="0"/>
              </a:spcBef>
              <a:spcAft>
                <a:spcPts val="0"/>
              </a:spcAft>
              <a:buClr>
                <a:srgbClr val="0872A6"/>
              </a:buClr>
              <a:buFont typeface="Calibri" panose="020F0502020204030204" pitchFamily="34" charset="0"/>
              <a:buChar char="»"/>
            </a:pPr>
            <a:r>
              <a:rPr lang="en-US" sz="1960">
                <a:solidFill>
                  <a:prstClr val="black"/>
                </a:solidFill>
                <a:latin typeface="Calibri" panose="020F0502020204030204" pitchFamily="34" charset="0"/>
                <a:ea typeface="Calibri" panose="020F0502020204030204" pitchFamily="34" charset="0"/>
                <a:cs typeface="Calibri" panose="020F0502020204030204" pitchFamily="34" charset="0"/>
              </a:rPr>
              <a:t>Accelerates investment and service delivery</a:t>
            </a:r>
          </a:p>
        </p:txBody>
      </p:sp>
      <p:pic>
        <p:nvPicPr>
          <p:cNvPr id="3" name="Picture 2" descr="Screen Clipping">
            <a:extLst>
              <a:ext uri="{FF2B5EF4-FFF2-40B4-BE49-F238E27FC236}">
                <a16:creationId xmlns:a16="http://schemas.microsoft.com/office/drawing/2014/main" id="{9AA3E02C-EEB6-1495-4E41-F9F358562D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8320" y="3135010"/>
            <a:ext cx="4428640" cy="2741264"/>
          </a:xfrm>
          <a:prstGeom prst="rect">
            <a:avLst/>
          </a:prstGeom>
        </p:spPr>
      </p:pic>
      <p:sp>
        <p:nvSpPr>
          <p:cNvPr id="4" name="TextBox 3">
            <a:extLst>
              <a:ext uri="{FF2B5EF4-FFF2-40B4-BE49-F238E27FC236}">
                <a16:creationId xmlns:a16="http://schemas.microsoft.com/office/drawing/2014/main" id="{58B4E98E-6C8F-02B3-F731-740C1D2680EB}"/>
              </a:ext>
            </a:extLst>
          </p:cNvPr>
          <p:cNvSpPr txBox="1"/>
          <p:nvPr/>
        </p:nvSpPr>
        <p:spPr>
          <a:xfrm>
            <a:off x="3720305" y="5974308"/>
            <a:ext cx="6829375" cy="633453"/>
          </a:xfrm>
          <a:prstGeom prst="rect">
            <a:avLst/>
          </a:prstGeom>
          <a:noFill/>
        </p:spPr>
        <p:txBody>
          <a:bodyPr wrap="square" lIns="89616" tIns="44808" rIns="89616" bIns="44808" rtlCol="0" anchor="t">
            <a:spAutoFit/>
          </a:bodyPr>
          <a:lstStyle/>
          <a:p>
            <a:pPr defTabSz="896200" eaLnBrk="1" fontAlgn="auto" hangingPunct="1">
              <a:spcBef>
                <a:spcPts val="0"/>
              </a:spcBef>
              <a:spcAft>
                <a:spcPts val="0"/>
              </a:spcAft>
            </a:pPr>
            <a:r>
              <a:rPr lang="en-US" sz="1764" b="1" i="1">
                <a:solidFill>
                  <a:srgbClr val="0872A6"/>
                </a:solidFill>
                <a:latin typeface="Calibri" panose="020F0502020204030204" pitchFamily="34" charset="0"/>
                <a:ea typeface="Calibri" panose="020F0502020204030204" pitchFamily="34" charset="0"/>
                <a:cs typeface="Calibri" panose="020F0502020204030204" pitchFamily="34" charset="0"/>
              </a:rPr>
              <a:t>Summary from “Planning renewable energy strategies: Africa power sector, achievements and way forward”, Abu Dhabi January 2015</a:t>
            </a:r>
            <a:endParaRPr lang="en-GB" sz="1764" b="1" i="1">
              <a:solidFill>
                <a:srgbClr val="0872A6"/>
              </a:solidFill>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Screen Clipping">
            <a:extLst>
              <a:ext uri="{FF2B5EF4-FFF2-40B4-BE49-F238E27FC236}">
                <a16:creationId xmlns:a16="http://schemas.microsoft.com/office/drawing/2014/main" id="{1F873A39-4117-B8DE-B51D-8E66753109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17746" y="3135010"/>
            <a:ext cx="4016351" cy="2741263"/>
          </a:xfrm>
          <a:prstGeom prst="rect">
            <a:avLst/>
          </a:prstGeom>
        </p:spPr>
      </p:pic>
    </p:spTree>
    <p:extLst>
      <p:ext uri="{BB962C8B-B14F-4D97-AF65-F5344CB8AC3E}">
        <p14:creationId xmlns:p14="http://schemas.microsoft.com/office/powerpoint/2010/main" val="6883450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30A55A1-E4C1-6A04-C50F-ACFA0EE529A2}"/>
              </a:ext>
            </a:extLst>
          </p:cNvPr>
          <p:cNvPicPr>
            <a:picLocks noChangeAspect="1"/>
          </p:cNvPicPr>
          <p:nvPr/>
        </p:nvPicPr>
        <p:blipFill rotWithShape="1">
          <a:blip r:embed="rId3">
            <a:alphaModFix amt="50000"/>
          </a:blip>
          <a:srcRect l="39698" t="3361" r="3760" b="57358"/>
          <a:stretch/>
        </p:blipFill>
        <p:spPr>
          <a:xfrm>
            <a:off x="-5820" y="2971896"/>
            <a:ext cx="12192000" cy="4678361"/>
          </a:xfrm>
          <a:prstGeom prst="rect">
            <a:avLst/>
          </a:prstGeom>
        </p:spPr>
      </p:pic>
      <p:sp>
        <p:nvSpPr>
          <p:cNvPr id="3" name="Content Placeholder 2">
            <a:extLst>
              <a:ext uri="{FF2B5EF4-FFF2-40B4-BE49-F238E27FC236}">
                <a16:creationId xmlns:a16="http://schemas.microsoft.com/office/drawing/2014/main" id="{017591A3-365A-1C8E-3EA6-8BF8EA245A75}"/>
              </a:ext>
            </a:extLst>
          </p:cNvPr>
          <p:cNvSpPr>
            <a:spLocks noGrp="1"/>
          </p:cNvSpPr>
          <p:nvPr>
            <p:ph idx="1"/>
          </p:nvPr>
        </p:nvSpPr>
        <p:spPr>
          <a:xfrm>
            <a:off x="533841" y="1183245"/>
            <a:ext cx="11112677" cy="1094611"/>
          </a:xfrm>
        </p:spPr>
        <p:txBody>
          <a:bodyPr/>
          <a:lstStyle/>
          <a:p>
            <a:pPr marL="0" indent="0">
              <a:buNone/>
            </a:pPr>
            <a:r>
              <a:rPr lang="en-US">
                <a:latin typeface="Calibri" panose="020F0502020204030204" pitchFamily="34" charset="0"/>
                <a:ea typeface="Calibri" panose="020F0502020204030204" pitchFamily="34" charset="0"/>
                <a:cs typeface="Calibri" panose="020F0502020204030204" pitchFamily="34" charset="0"/>
              </a:rPr>
              <a:t>A transparent and open LTES development process is essential for the clean energy transition </a:t>
            </a:r>
          </a:p>
        </p:txBody>
      </p:sp>
      <p:pic>
        <p:nvPicPr>
          <p:cNvPr id="4" name="Picture 3">
            <a:extLst>
              <a:ext uri="{FF2B5EF4-FFF2-40B4-BE49-F238E27FC236}">
                <a16:creationId xmlns:a16="http://schemas.microsoft.com/office/drawing/2014/main" id="{106B4DCD-8428-B7FF-C200-D746EC22F397}"/>
              </a:ext>
            </a:extLst>
          </p:cNvPr>
          <p:cNvPicPr>
            <a:picLocks noChangeAspect="1"/>
          </p:cNvPicPr>
          <p:nvPr/>
        </p:nvPicPr>
        <p:blipFill>
          <a:blip r:embed="rId4"/>
          <a:stretch>
            <a:fillRect/>
          </a:stretch>
        </p:blipFill>
        <p:spPr>
          <a:xfrm>
            <a:off x="400195" y="2192703"/>
            <a:ext cx="11391609" cy="2601109"/>
          </a:xfrm>
          <a:prstGeom prst="rect">
            <a:avLst/>
          </a:prstGeom>
        </p:spPr>
      </p:pic>
      <p:sp>
        <p:nvSpPr>
          <p:cNvPr id="5" name="TextBox 4">
            <a:extLst>
              <a:ext uri="{FF2B5EF4-FFF2-40B4-BE49-F238E27FC236}">
                <a16:creationId xmlns:a16="http://schemas.microsoft.com/office/drawing/2014/main" id="{4796711E-00D1-0BE1-EA6F-53ED1EF324D2}"/>
              </a:ext>
            </a:extLst>
          </p:cNvPr>
          <p:cNvSpPr txBox="1"/>
          <p:nvPr/>
        </p:nvSpPr>
        <p:spPr>
          <a:xfrm>
            <a:off x="687597" y="4624535"/>
            <a:ext cx="1002982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a:ln>
                  <a:noFill/>
                </a:ln>
                <a:solidFill>
                  <a:prstClr val="white">
                    <a:lumMod val="50000"/>
                  </a:prst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Source: IRENA 2020, </a:t>
            </a:r>
            <a:r>
              <a:rPr kumimoji="0" lang="en-US" sz="1600" b="0" i="1" u="none" strike="noStrike" kern="0" cap="none" spc="0" normalizeH="0" baseline="0" noProof="0">
                <a:ln>
                  <a:noFill/>
                </a:ln>
                <a:solidFill>
                  <a:prstClr val="white">
                    <a:lumMod val="50000"/>
                  </a:prstClr>
                </a:solidFill>
                <a:effectLst/>
                <a:uLnTx/>
                <a:uFillTx/>
                <a:latin typeface="Calibri" panose="020F0502020204030204" pitchFamily="34" charset="0"/>
                <a:ea typeface="Calibri" panose="020F0502020204030204" pitchFamily="34" charset="0"/>
                <a:cs typeface="Calibri" panose="020F0502020204030204" pitchFamily="34" charset="0"/>
                <a:sym typeface="Arial"/>
              </a:rPr>
              <a:t>Scenarios for the Energy Transition (adapted)</a:t>
            </a:r>
          </a:p>
        </p:txBody>
      </p:sp>
      <p:sp>
        <p:nvSpPr>
          <p:cNvPr id="8" name="Title 1">
            <a:extLst>
              <a:ext uri="{FF2B5EF4-FFF2-40B4-BE49-F238E27FC236}">
                <a16:creationId xmlns:a16="http://schemas.microsoft.com/office/drawing/2014/main" id="{9C35CB8D-67EC-F5BD-9226-C6E3CD721FC9}"/>
              </a:ext>
            </a:extLst>
          </p:cNvPr>
          <p:cNvSpPr txBox="1">
            <a:spLocks/>
          </p:cNvSpPr>
          <p:nvPr/>
        </p:nvSpPr>
        <p:spPr>
          <a:xfrm>
            <a:off x="199673" y="233990"/>
            <a:ext cx="8179034" cy="700283"/>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872A6"/>
                </a:solidFill>
                <a:latin typeface="Calibri" panose="020F0502020204030204" pitchFamily="34" charset="0"/>
                <a:ea typeface="Calibri" panose="020F0502020204030204" pitchFamily="34" charset="0"/>
                <a:cs typeface="Calibri" panose="020F0502020204030204" pitchFamily="34" charset="0"/>
              </a:rPr>
              <a:t>Long-Term Energy Scenarios Initiative and Network</a:t>
            </a:r>
          </a:p>
        </p:txBody>
      </p:sp>
      <p:pic>
        <p:nvPicPr>
          <p:cNvPr id="7" name="Picture 6">
            <a:extLst>
              <a:ext uri="{FF2B5EF4-FFF2-40B4-BE49-F238E27FC236}">
                <a16:creationId xmlns:a16="http://schemas.microsoft.com/office/drawing/2014/main" id="{D6837C7E-915D-71A4-BA41-D6DCDC4AC554}"/>
              </a:ext>
            </a:extLst>
          </p:cNvPr>
          <p:cNvPicPr/>
          <p:nvPr/>
        </p:nvPicPr>
        <p:blipFill>
          <a:blip r:embed="rId5">
            <a:extLst>
              <a:ext uri="{28A0092B-C50C-407E-A947-70E740481C1C}">
                <a14:useLocalDpi xmlns:a14="http://schemas.microsoft.com/office/drawing/2010/main" val="0"/>
              </a:ext>
            </a:extLst>
          </a:blip>
          <a:stretch>
            <a:fillRect/>
          </a:stretch>
        </p:blipFill>
        <p:spPr bwMode="auto">
          <a:xfrm>
            <a:off x="7976286" y="0"/>
            <a:ext cx="1835482" cy="775403"/>
          </a:xfrm>
          <a:prstGeom prst="rect">
            <a:avLst/>
          </a:prstGeom>
          <a:noFill/>
        </p:spPr>
      </p:pic>
    </p:spTree>
    <p:extLst>
      <p:ext uri="{BB962C8B-B14F-4D97-AF65-F5344CB8AC3E}">
        <p14:creationId xmlns:p14="http://schemas.microsoft.com/office/powerpoint/2010/main" val="311046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5E4390DC-8E3C-E40B-BBB7-1F02D0E7C136}"/>
              </a:ext>
            </a:extLst>
          </p:cNvPr>
          <p:cNvSpPr txBox="1"/>
          <p:nvPr/>
        </p:nvSpPr>
        <p:spPr>
          <a:xfrm>
            <a:off x="347947" y="1206003"/>
            <a:ext cx="11521206" cy="2462213"/>
          </a:xfrm>
          <a:prstGeom prst="rect">
            <a:avLst/>
          </a:prstGeom>
          <a:noFill/>
        </p:spPr>
        <p:txBody>
          <a:bodyPr wrap="square" rtlCol="0">
            <a:spAutoFit/>
          </a:bodyPr>
          <a:lstStyle/>
          <a:p>
            <a:pPr marL="285750" indent="-285750">
              <a:buClr>
                <a:srgbClr val="0070C0"/>
              </a:buCl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Provides a global platform to </a:t>
            </a:r>
            <a:r>
              <a:rPr lang="en-US" sz="2400" b="1">
                <a:latin typeface="Calibri" panose="020F0502020204030204" pitchFamily="34" charset="0"/>
                <a:ea typeface="Calibri" panose="020F0502020204030204" pitchFamily="34" charset="0"/>
                <a:cs typeface="Calibri" panose="020F0502020204030204" pitchFamily="34" charset="0"/>
              </a:rPr>
              <a:t>exchange national long-term energy scenario (LTES) practices </a:t>
            </a:r>
            <a:r>
              <a:rPr lang="en-US" sz="2400">
                <a:latin typeface="Calibri" panose="020F0502020204030204" pitchFamily="34" charset="0"/>
                <a:ea typeface="Calibri" panose="020F0502020204030204" pitchFamily="34" charset="0"/>
                <a:cs typeface="Calibri" panose="020F0502020204030204" pitchFamily="34" charset="0"/>
              </a:rPr>
              <a:t>among scenario practitioners.</a:t>
            </a:r>
          </a:p>
          <a:p>
            <a:pPr marL="285750" indent="-285750">
              <a:buClr>
                <a:srgbClr val="0070C0"/>
              </a:buCl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Promotes wider and more effective use of LTES for the clean energy transition </a:t>
            </a:r>
            <a:r>
              <a:rPr lang="en-US" sz="2400" b="1">
                <a:latin typeface="Calibri" panose="020F0502020204030204" pitchFamily="34" charset="0"/>
                <a:ea typeface="Calibri" panose="020F0502020204030204" pitchFamily="34" charset="0"/>
                <a:cs typeface="Calibri" panose="020F0502020204030204" pitchFamily="34" charset="0"/>
              </a:rPr>
              <a:t>in governments.  </a:t>
            </a:r>
          </a:p>
          <a:p>
            <a:pPr marL="285750" indent="-285750">
              <a:buClr>
                <a:srgbClr val="0070C0"/>
              </a:buClr>
              <a:buFont typeface="Arial" panose="020B0604020202020204" pitchFamily="34" charset="0"/>
              <a:buChar char="•"/>
            </a:pPr>
            <a:r>
              <a:rPr lang="en-US" sz="2400">
                <a:latin typeface="Calibri" panose="020F0502020204030204" pitchFamily="34" charset="0"/>
                <a:ea typeface="Calibri" panose="020F0502020204030204" pitchFamily="34" charset="0"/>
                <a:cs typeface="Calibri" panose="020F0502020204030204" pitchFamily="34" charset="0"/>
              </a:rPr>
              <a:t>+60 country examples over 70 international and regional events and webinars organized.</a:t>
            </a:r>
          </a:p>
          <a:p>
            <a:pPr>
              <a:buClr>
                <a:srgbClr val="0070C0"/>
              </a:buClr>
            </a:pPr>
            <a:endParaRPr lang="en-US" sz="1600">
              <a:latin typeface="Calibri" panose="020F0502020204030204" pitchFamily="34" charset="0"/>
              <a:ea typeface="Calibri" panose="020F0502020204030204" pitchFamily="34" charset="0"/>
              <a:cs typeface="Calibri" panose="020F0502020204030204" pitchFamily="34" charset="0"/>
            </a:endParaRPr>
          </a:p>
          <a:p>
            <a:pPr marL="285750" indent="-285750">
              <a:buClr>
                <a:srgbClr val="0070C0"/>
              </a:buClr>
              <a:buFont typeface="Arial" panose="020B0604020202020204" pitchFamily="34" charset="0"/>
              <a:buChar char="•"/>
            </a:pPr>
            <a:endParaRPr lang="en-US">
              <a:latin typeface="Calibri" panose="020F0502020204030204" pitchFamily="34" charset="0"/>
              <a:ea typeface="Calibri" panose="020F0502020204030204" pitchFamily="34" charset="0"/>
              <a:cs typeface="Calibri" panose="020F0502020204030204" pitchFamily="34" charset="0"/>
            </a:endParaRPr>
          </a:p>
        </p:txBody>
      </p:sp>
      <p:pic>
        <p:nvPicPr>
          <p:cNvPr id="26" name="Picture 25" descr="A close up of a logo&#10;&#10;Description generated with high confidence">
            <a:extLst>
              <a:ext uri="{FF2B5EF4-FFF2-40B4-BE49-F238E27FC236}">
                <a16:creationId xmlns:a16="http://schemas.microsoft.com/office/drawing/2014/main" id="{240E0819-CE9B-F24D-A8AF-71D00CEBA9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95525" y="5094852"/>
            <a:ext cx="2229723" cy="751884"/>
          </a:xfrm>
          <a:prstGeom prst="rect">
            <a:avLst/>
          </a:prstGeom>
        </p:spPr>
      </p:pic>
      <p:pic>
        <p:nvPicPr>
          <p:cNvPr id="27" name="Picture 26">
            <a:extLst>
              <a:ext uri="{FF2B5EF4-FFF2-40B4-BE49-F238E27FC236}">
                <a16:creationId xmlns:a16="http://schemas.microsoft.com/office/drawing/2014/main" id="{F9397718-4A43-2D41-8F9A-77767EFEE7F8}"/>
              </a:ext>
            </a:extLst>
          </p:cNvPr>
          <p:cNvPicPr>
            <a:picLocks noChangeAspect="1"/>
          </p:cNvPicPr>
          <p:nvPr/>
        </p:nvPicPr>
        <p:blipFill>
          <a:blip r:embed="rId4"/>
          <a:stretch>
            <a:fillRect/>
          </a:stretch>
        </p:blipFill>
        <p:spPr>
          <a:xfrm>
            <a:off x="10405052" y="4420130"/>
            <a:ext cx="1195643" cy="580742"/>
          </a:xfrm>
          <a:prstGeom prst="rect">
            <a:avLst/>
          </a:prstGeom>
        </p:spPr>
      </p:pic>
      <p:pic>
        <p:nvPicPr>
          <p:cNvPr id="28" name="Picture 27">
            <a:extLst>
              <a:ext uri="{FF2B5EF4-FFF2-40B4-BE49-F238E27FC236}">
                <a16:creationId xmlns:a16="http://schemas.microsoft.com/office/drawing/2014/main" id="{DAB915FE-7D5D-674D-B6EE-D36043DEE375}"/>
              </a:ext>
            </a:extLst>
          </p:cNvPr>
          <p:cNvPicPr>
            <a:picLocks noChangeAspect="1"/>
          </p:cNvPicPr>
          <p:nvPr/>
        </p:nvPicPr>
        <p:blipFill>
          <a:blip r:embed="rId5"/>
          <a:stretch>
            <a:fillRect/>
          </a:stretch>
        </p:blipFill>
        <p:spPr>
          <a:xfrm>
            <a:off x="8038674" y="5219325"/>
            <a:ext cx="1441266" cy="524095"/>
          </a:xfrm>
          <a:prstGeom prst="rect">
            <a:avLst/>
          </a:prstGeom>
        </p:spPr>
      </p:pic>
      <p:pic>
        <p:nvPicPr>
          <p:cNvPr id="29" name="Picture 2" descr="Image result for world energy council">
            <a:extLst>
              <a:ext uri="{FF2B5EF4-FFF2-40B4-BE49-F238E27FC236}">
                <a16:creationId xmlns:a16="http://schemas.microsoft.com/office/drawing/2014/main" id="{5CCFED89-3353-9741-BA01-62326B0DD2A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567"/>
          <a:stretch/>
        </p:blipFill>
        <p:spPr bwMode="auto">
          <a:xfrm>
            <a:off x="7836287" y="4447012"/>
            <a:ext cx="1070059" cy="73906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a:extLst>
              <a:ext uri="{FF2B5EF4-FFF2-40B4-BE49-F238E27FC236}">
                <a16:creationId xmlns:a16="http://schemas.microsoft.com/office/drawing/2014/main" id="{090D5D45-0D21-E645-9198-6DEC709BC4FA}"/>
              </a:ext>
            </a:extLst>
          </p:cNvPr>
          <p:cNvPicPr>
            <a:picLocks noChangeAspect="1"/>
          </p:cNvPicPr>
          <p:nvPr/>
        </p:nvPicPr>
        <p:blipFill rotWithShape="1">
          <a:blip r:embed="rId7"/>
          <a:srcRect t="16888" r="50000" b="23870"/>
          <a:stretch/>
        </p:blipFill>
        <p:spPr>
          <a:xfrm>
            <a:off x="10327744" y="3885523"/>
            <a:ext cx="1703210" cy="421559"/>
          </a:xfrm>
          <a:prstGeom prst="rect">
            <a:avLst/>
          </a:prstGeom>
        </p:spPr>
      </p:pic>
      <p:pic>
        <p:nvPicPr>
          <p:cNvPr id="31" name="Picture 30" descr="A screenshot of a cell phone&#10;&#10;Description generated with very high confidence">
            <a:extLst>
              <a:ext uri="{FF2B5EF4-FFF2-40B4-BE49-F238E27FC236}">
                <a16:creationId xmlns:a16="http://schemas.microsoft.com/office/drawing/2014/main" id="{552749F6-225B-CC4B-90C1-45F01A71567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892362" y="5099013"/>
            <a:ext cx="2110212" cy="1495446"/>
          </a:xfrm>
          <a:prstGeom prst="rect">
            <a:avLst/>
          </a:prstGeom>
        </p:spPr>
      </p:pic>
      <p:sp>
        <p:nvSpPr>
          <p:cNvPr id="50" name="Rectangle 49">
            <a:extLst>
              <a:ext uri="{FF2B5EF4-FFF2-40B4-BE49-F238E27FC236}">
                <a16:creationId xmlns:a16="http://schemas.microsoft.com/office/drawing/2014/main" id="{97502CC9-5A54-4C47-BD34-CFF07810E4E4}"/>
              </a:ext>
            </a:extLst>
          </p:cNvPr>
          <p:cNvSpPr/>
          <p:nvPr/>
        </p:nvSpPr>
        <p:spPr>
          <a:xfrm>
            <a:off x="7391329" y="3256405"/>
            <a:ext cx="3788020" cy="461665"/>
          </a:xfrm>
          <a:prstGeom prst="rect">
            <a:avLst/>
          </a:prstGeom>
        </p:spPr>
        <p:txBody>
          <a:bodyPr wrap="square" lIns="91440" tIns="45720" rIns="91440" bIns="45720" anchor="t">
            <a:spAutoFit/>
          </a:bodyPr>
          <a:lstStyle/>
          <a:p>
            <a:pPr>
              <a:defRPr/>
            </a:pPr>
            <a:r>
              <a:rPr lang="en-US" sz="2400" b="1">
                <a:solidFill>
                  <a:srgbClr val="1371A1"/>
                </a:solidFill>
                <a:cs typeface="Calibri"/>
              </a:rPr>
              <a:t>14 Technical Partners</a:t>
            </a:r>
          </a:p>
        </p:txBody>
      </p:sp>
      <p:pic>
        <p:nvPicPr>
          <p:cNvPr id="76" name="Picture 2" descr="International Energy Agency (IEA) Logo Vector Download - (.SVG + .PNG) -  Logovectordl.Com">
            <a:extLst>
              <a:ext uri="{FF2B5EF4-FFF2-40B4-BE49-F238E27FC236}">
                <a16:creationId xmlns:a16="http://schemas.microsoft.com/office/drawing/2014/main" id="{FA55801F-9FA0-4E36-BE69-39C159E31FC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252471" y="4522326"/>
            <a:ext cx="957099" cy="530891"/>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4" descr="ERI RAS">
            <a:extLst>
              <a:ext uri="{FF2B5EF4-FFF2-40B4-BE49-F238E27FC236}">
                <a16:creationId xmlns:a16="http://schemas.microsoft.com/office/drawing/2014/main" id="{B359385F-510C-439C-9BB6-4770CDE6459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12410" y="3944402"/>
            <a:ext cx="1095356" cy="413003"/>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6" descr="World Resources Institute — Wikipédia">
            <a:extLst>
              <a:ext uri="{FF2B5EF4-FFF2-40B4-BE49-F238E27FC236}">
                <a16:creationId xmlns:a16="http://schemas.microsoft.com/office/drawing/2014/main" id="{D20D0751-C7E5-4432-811E-714B745DCDE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630050" y="3890194"/>
            <a:ext cx="1282504" cy="443747"/>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8">
            <a:extLst>
              <a:ext uri="{FF2B5EF4-FFF2-40B4-BE49-F238E27FC236}">
                <a16:creationId xmlns:a16="http://schemas.microsoft.com/office/drawing/2014/main" id="{E07AA758-0F88-4562-9BEA-F3D0A1F087A5}"/>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993762" y="3963099"/>
            <a:ext cx="1436432" cy="427189"/>
          </a:xfrm>
          <a:prstGeom prst="rect">
            <a:avLst/>
          </a:prstGeom>
        </p:spPr>
      </p:pic>
      <p:pic>
        <p:nvPicPr>
          <p:cNvPr id="6" name="Picture 5">
            <a:extLst>
              <a:ext uri="{FF2B5EF4-FFF2-40B4-BE49-F238E27FC236}">
                <a16:creationId xmlns:a16="http://schemas.microsoft.com/office/drawing/2014/main" id="{1C9D8FB9-C564-402F-E9A2-C5241902223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702193" y="0"/>
            <a:ext cx="2433637" cy="910713"/>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descr="Logo, company name&#10;&#10;Description automatically generated">
            <a:extLst>
              <a:ext uri="{FF2B5EF4-FFF2-40B4-BE49-F238E27FC236}">
                <a16:creationId xmlns:a16="http://schemas.microsoft.com/office/drawing/2014/main" id="{26A8D0C4-CC81-7792-BA24-FDF50781B3B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130016" y="4397186"/>
            <a:ext cx="1500034" cy="756517"/>
          </a:xfrm>
          <a:prstGeom prst="rect">
            <a:avLst/>
          </a:prstGeom>
        </p:spPr>
      </p:pic>
      <p:cxnSp>
        <p:nvCxnSpPr>
          <p:cNvPr id="24" name="Straight Connector 23">
            <a:extLst>
              <a:ext uri="{FF2B5EF4-FFF2-40B4-BE49-F238E27FC236}">
                <a16:creationId xmlns:a16="http://schemas.microsoft.com/office/drawing/2014/main" id="{C4A8315F-8C7F-238B-7DE7-579641D4E038}"/>
              </a:ext>
            </a:extLst>
          </p:cNvPr>
          <p:cNvCxnSpPr/>
          <p:nvPr/>
        </p:nvCxnSpPr>
        <p:spPr>
          <a:xfrm>
            <a:off x="0" y="910713"/>
            <a:ext cx="12192000" cy="71413"/>
          </a:xfrm>
          <a:prstGeom prst="line">
            <a:avLst/>
          </a:prstGeom>
          <a:ln>
            <a:solidFill>
              <a:srgbClr val="0872A6"/>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984AAA4A-7F8F-902F-B518-F613E1BE63C9}"/>
              </a:ext>
            </a:extLst>
          </p:cNvPr>
          <p:cNvSpPr txBox="1">
            <a:spLocks/>
          </p:cNvSpPr>
          <p:nvPr/>
        </p:nvSpPr>
        <p:spPr>
          <a:xfrm>
            <a:off x="199673" y="233990"/>
            <a:ext cx="8179034" cy="700283"/>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a:solidFill>
                  <a:srgbClr val="0872A6"/>
                </a:solidFill>
                <a:latin typeface="Calibri" panose="020F0502020204030204" pitchFamily="34" charset="0"/>
                <a:ea typeface="Calibri" panose="020F0502020204030204" pitchFamily="34" charset="0"/>
                <a:cs typeface="Calibri" panose="020F0502020204030204" pitchFamily="34" charset="0"/>
              </a:rPr>
              <a:t>Long-Term Energy Scenarios Network</a:t>
            </a:r>
          </a:p>
        </p:txBody>
      </p:sp>
      <p:sp>
        <p:nvSpPr>
          <p:cNvPr id="33" name="Slide Number Placeholder 3">
            <a:extLst>
              <a:ext uri="{FF2B5EF4-FFF2-40B4-BE49-F238E27FC236}">
                <a16:creationId xmlns:a16="http://schemas.microsoft.com/office/drawing/2014/main" id="{F270977D-8D10-E046-BC89-8D4D457662B2}"/>
              </a:ext>
            </a:extLst>
          </p:cNvPr>
          <p:cNvSpPr txBox="1">
            <a:spLocks/>
          </p:cNvSpPr>
          <p:nvPr/>
        </p:nvSpPr>
        <p:spPr>
          <a:xfrm>
            <a:off x="11695977" y="5964860"/>
            <a:ext cx="490203" cy="365120"/>
          </a:xfrm>
          <a:prstGeom prst="rect">
            <a:avLst/>
          </a:prstGeom>
        </p:spPr>
        <p:txBody>
          <a:bodyPr vert="horz" lIns="91438" tIns="45719" rIns="91438" bIns="45719" rtlCol="0" anchor="ctr"/>
          <a:lstStyle>
            <a:defPPr>
              <a:defRPr lang="de-DE"/>
            </a:defPPr>
            <a:lvl1pPr algn="r" rtl="0" fontAlgn="base">
              <a:spcBef>
                <a:spcPct val="0"/>
              </a:spcBef>
              <a:spcAft>
                <a:spcPct val="0"/>
              </a:spcAft>
              <a:defRPr sz="1100" kern="1200">
                <a:solidFill>
                  <a:schemeClr val="tx1">
                    <a:tint val="75000"/>
                  </a:schemeClr>
                </a:solidFill>
                <a:latin typeface="Calibri" panose="020F0502020204030204" pitchFamily="34" charset="0"/>
                <a:ea typeface="+mn-ea"/>
                <a:cs typeface="Calibri" panose="020F0502020204030204" pitchFamily="34" charset="0"/>
              </a:defRPr>
            </a:lvl1pPr>
            <a:lvl2pPr marL="511761" algn="l" rtl="0" fontAlgn="base">
              <a:spcBef>
                <a:spcPct val="0"/>
              </a:spcBef>
              <a:spcAft>
                <a:spcPct val="0"/>
              </a:spcAft>
              <a:defRPr sz="1600" kern="1200">
                <a:solidFill>
                  <a:schemeClr val="tx1"/>
                </a:solidFill>
                <a:latin typeface="Arial" charset="0"/>
                <a:ea typeface="+mn-ea"/>
                <a:cs typeface="Arial" charset="0"/>
              </a:defRPr>
            </a:lvl2pPr>
            <a:lvl3pPr marL="1023523" algn="l" rtl="0" fontAlgn="base">
              <a:spcBef>
                <a:spcPct val="0"/>
              </a:spcBef>
              <a:spcAft>
                <a:spcPct val="0"/>
              </a:spcAft>
              <a:defRPr sz="1600" kern="1200">
                <a:solidFill>
                  <a:schemeClr val="tx1"/>
                </a:solidFill>
                <a:latin typeface="Arial" charset="0"/>
                <a:ea typeface="+mn-ea"/>
                <a:cs typeface="Arial" charset="0"/>
              </a:defRPr>
            </a:lvl3pPr>
            <a:lvl4pPr marL="1535285" algn="l" rtl="0" fontAlgn="base">
              <a:spcBef>
                <a:spcPct val="0"/>
              </a:spcBef>
              <a:spcAft>
                <a:spcPct val="0"/>
              </a:spcAft>
              <a:defRPr sz="1600" kern="1200">
                <a:solidFill>
                  <a:schemeClr val="tx1"/>
                </a:solidFill>
                <a:latin typeface="Arial" charset="0"/>
                <a:ea typeface="+mn-ea"/>
                <a:cs typeface="Arial" charset="0"/>
              </a:defRPr>
            </a:lvl4pPr>
            <a:lvl5pPr marL="2047046" algn="l" rtl="0" fontAlgn="base">
              <a:spcBef>
                <a:spcPct val="0"/>
              </a:spcBef>
              <a:spcAft>
                <a:spcPct val="0"/>
              </a:spcAft>
              <a:defRPr sz="1600" kern="1200">
                <a:solidFill>
                  <a:schemeClr val="tx1"/>
                </a:solidFill>
                <a:latin typeface="Arial" charset="0"/>
                <a:ea typeface="+mn-ea"/>
                <a:cs typeface="Arial" charset="0"/>
              </a:defRPr>
            </a:lvl5pPr>
            <a:lvl6pPr marL="2558807" algn="l" defTabSz="1023523" rtl="0" eaLnBrk="1" latinLnBrk="0" hangingPunct="1">
              <a:defRPr sz="1600" kern="1200">
                <a:solidFill>
                  <a:schemeClr val="tx1"/>
                </a:solidFill>
                <a:latin typeface="Arial" charset="0"/>
                <a:ea typeface="+mn-ea"/>
                <a:cs typeface="Arial" charset="0"/>
              </a:defRPr>
            </a:lvl6pPr>
            <a:lvl7pPr marL="3070568" algn="l" defTabSz="1023523" rtl="0" eaLnBrk="1" latinLnBrk="0" hangingPunct="1">
              <a:defRPr sz="1600" kern="1200">
                <a:solidFill>
                  <a:schemeClr val="tx1"/>
                </a:solidFill>
                <a:latin typeface="Arial" charset="0"/>
                <a:ea typeface="+mn-ea"/>
                <a:cs typeface="Arial" charset="0"/>
              </a:defRPr>
            </a:lvl7pPr>
            <a:lvl8pPr marL="3582330" algn="l" defTabSz="1023523" rtl="0" eaLnBrk="1" latinLnBrk="0" hangingPunct="1">
              <a:defRPr sz="1600" kern="1200">
                <a:solidFill>
                  <a:schemeClr val="tx1"/>
                </a:solidFill>
                <a:latin typeface="Arial" charset="0"/>
                <a:ea typeface="+mn-ea"/>
                <a:cs typeface="Arial" charset="0"/>
              </a:defRPr>
            </a:lvl8pPr>
            <a:lvl9pPr marL="4094092" algn="l" defTabSz="1023523" rtl="0" eaLnBrk="1" latinLnBrk="0" hangingPunct="1">
              <a:defRPr sz="1600" kern="1200">
                <a:solidFill>
                  <a:schemeClr val="tx1"/>
                </a:solidFill>
                <a:latin typeface="Arial" charset="0"/>
                <a:ea typeface="+mn-ea"/>
                <a:cs typeface="Arial" charset="0"/>
              </a:defRPr>
            </a:lvl9pPr>
          </a:lstStyle>
          <a:p>
            <a:pPr algn="ctr" defTabSz="932962" eaLnBrk="0" hangingPunct="0">
              <a:defRPr/>
            </a:pPr>
            <a:fld id="{6A06B1E7-21B8-4C37-8EB9-3B9E4E23EB19}" type="slidenum">
              <a:rPr lang="en-GB">
                <a:solidFill>
                  <a:srgbClr val="000000">
                    <a:tint val="75000"/>
                  </a:srgbClr>
                </a:solidFill>
              </a:rPr>
              <a:pPr algn="ctr" defTabSz="932962" eaLnBrk="0" hangingPunct="0">
                <a:defRPr/>
              </a:pPr>
              <a:t>8</a:t>
            </a:fld>
            <a:endParaRPr lang="en-GB">
              <a:solidFill>
                <a:srgbClr val="000000">
                  <a:tint val="75000"/>
                </a:srgbClr>
              </a:solidFill>
            </a:endParaRPr>
          </a:p>
        </p:txBody>
      </p:sp>
      <p:sp>
        <p:nvSpPr>
          <p:cNvPr id="8" name="Rectangle 7">
            <a:extLst>
              <a:ext uri="{FF2B5EF4-FFF2-40B4-BE49-F238E27FC236}">
                <a16:creationId xmlns:a16="http://schemas.microsoft.com/office/drawing/2014/main" id="{FE18FBD5-B069-633A-7FA2-62000E960A06}"/>
              </a:ext>
            </a:extLst>
          </p:cNvPr>
          <p:cNvSpPr/>
          <p:nvPr/>
        </p:nvSpPr>
        <p:spPr>
          <a:xfrm>
            <a:off x="1208745" y="3216998"/>
            <a:ext cx="3788020" cy="461665"/>
          </a:xfrm>
          <a:prstGeom prst="rect">
            <a:avLst/>
          </a:prstGeom>
        </p:spPr>
        <p:txBody>
          <a:bodyPr wrap="square">
            <a:spAutoFit/>
          </a:bodyPr>
          <a:lstStyle/>
          <a:p>
            <a:pPr lvl="0" eaLnBrk="1" fontAlgn="auto" hangingPunct="1">
              <a:spcBef>
                <a:spcPts val="0"/>
              </a:spcBef>
              <a:spcAft>
                <a:spcPts val="0"/>
              </a:spcAft>
              <a:defRPr/>
            </a:pPr>
            <a:r>
              <a:rPr lang="en-US" sz="2400" b="1">
                <a:solidFill>
                  <a:srgbClr val="1371A1"/>
                </a:solidFill>
                <a:cs typeface="Calibri" panose="020F0502020204030204" pitchFamily="34" charset="0"/>
              </a:rPr>
              <a:t>29 Country Members</a:t>
            </a:r>
          </a:p>
        </p:txBody>
      </p:sp>
      <p:pic>
        <p:nvPicPr>
          <p:cNvPr id="42" name="Picture 2" descr="Image result for italy">
            <a:extLst>
              <a:ext uri="{FF2B5EF4-FFF2-40B4-BE49-F238E27FC236}">
                <a16:creationId xmlns:a16="http://schemas.microsoft.com/office/drawing/2014/main" id="{08273647-951B-6E08-4AB0-3E3CE215038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878913" y="4972889"/>
            <a:ext cx="596881" cy="400107"/>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Image result for ksa">
            <a:extLst>
              <a:ext uri="{FF2B5EF4-FFF2-40B4-BE49-F238E27FC236}">
                <a16:creationId xmlns:a16="http://schemas.microsoft.com/office/drawing/2014/main" id="{B0740584-FDD1-5BDF-8674-0B72DD2E900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74096" y="6013971"/>
            <a:ext cx="595826" cy="396495"/>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File:Flag of Portugal.svg - Wikimedia Commons">
            <a:extLst>
              <a:ext uri="{FF2B5EF4-FFF2-40B4-BE49-F238E27FC236}">
                <a16:creationId xmlns:a16="http://schemas.microsoft.com/office/drawing/2014/main" id="{763E85E0-FB99-4977-B8C2-0894BAD8AD7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368031" y="5506157"/>
            <a:ext cx="591844" cy="39384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2">
            <a:extLst>
              <a:ext uri="{FF2B5EF4-FFF2-40B4-BE49-F238E27FC236}">
                <a16:creationId xmlns:a16="http://schemas.microsoft.com/office/drawing/2014/main" id="{232A8BB2-B962-3BC6-4950-667E24E58175}"/>
              </a:ext>
            </a:extLst>
          </p:cNvPr>
          <p:cNvPicPr>
            <a:picLocks noChangeAspect="1"/>
          </p:cNvPicPr>
          <p:nvPr/>
        </p:nvPicPr>
        <p:blipFill>
          <a:blip r:embed="rId18"/>
          <a:stretch>
            <a:fillRect/>
          </a:stretch>
        </p:blipFill>
        <p:spPr>
          <a:xfrm>
            <a:off x="197908" y="3844036"/>
            <a:ext cx="614582" cy="402888"/>
          </a:xfrm>
          <a:prstGeom prst="rect">
            <a:avLst/>
          </a:prstGeom>
        </p:spPr>
      </p:pic>
      <p:pic>
        <p:nvPicPr>
          <p:cNvPr id="46" name="Picture 44" descr="Logo, icon&#10;&#10;Description automatically generated">
            <a:extLst>
              <a:ext uri="{FF2B5EF4-FFF2-40B4-BE49-F238E27FC236}">
                <a16:creationId xmlns:a16="http://schemas.microsoft.com/office/drawing/2014/main" id="{F9982326-8A49-047B-67E1-047509E436AC}"/>
              </a:ext>
            </a:extLst>
          </p:cNvPr>
          <p:cNvPicPr>
            <a:picLocks noChangeAspect="1"/>
          </p:cNvPicPr>
          <p:nvPr/>
        </p:nvPicPr>
        <p:blipFill>
          <a:blip r:embed="rId19"/>
          <a:stretch>
            <a:fillRect/>
          </a:stretch>
        </p:blipFill>
        <p:spPr>
          <a:xfrm>
            <a:off x="1012346" y="3829433"/>
            <a:ext cx="696562" cy="443747"/>
          </a:xfrm>
          <a:prstGeom prst="rect">
            <a:avLst/>
          </a:prstGeom>
        </p:spPr>
      </p:pic>
      <p:pic>
        <p:nvPicPr>
          <p:cNvPr id="47" name="Picture 46" descr="Icon&#10;&#10;Description automatically generated">
            <a:extLst>
              <a:ext uri="{FF2B5EF4-FFF2-40B4-BE49-F238E27FC236}">
                <a16:creationId xmlns:a16="http://schemas.microsoft.com/office/drawing/2014/main" id="{3140978A-ECD2-5C31-A9B1-2435419A8806}"/>
              </a:ext>
            </a:extLst>
          </p:cNvPr>
          <p:cNvPicPr>
            <a:picLocks noChangeAspect="1"/>
          </p:cNvPicPr>
          <p:nvPr/>
        </p:nvPicPr>
        <p:blipFill>
          <a:blip r:embed="rId20"/>
          <a:stretch>
            <a:fillRect/>
          </a:stretch>
        </p:blipFill>
        <p:spPr>
          <a:xfrm>
            <a:off x="1023305" y="4418965"/>
            <a:ext cx="639407" cy="435460"/>
          </a:xfrm>
          <a:prstGeom prst="rect">
            <a:avLst/>
          </a:prstGeom>
          <a:ln w="3175">
            <a:solidFill>
              <a:schemeClr val="tx1"/>
            </a:solidFill>
          </a:ln>
        </p:spPr>
      </p:pic>
      <p:pic>
        <p:nvPicPr>
          <p:cNvPr id="48" name="Picture 47" descr="Logo, company name&#10;&#10;Description automatically generated">
            <a:extLst>
              <a:ext uri="{FF2B5EF4-FFF2-40B4-BE49-F238E27FC236}">
                <a16:creationId xmlns:a16="http://schemas.microsoft.com/office/drawing/2014/main" id="{2F57B176-8C38-96B9-0594-47BEC9FDB945}"/>
              </a:ext>
            </a:extLst>
          </p:cNvPr>
          <p:cNvPicPr>
            <a:picLocks noChangeAspect="1"/>
          </p:cNvPicPr>
          <p:nvPr/>
        </p:nvPicPr>
        <p:blipFill>
          <a:blip r:embed="rId21"/>
          <a:stretch>
            <a:fillRect/>
          </a:stretch>
        </p:blipFill>
        <p:spPr>
          <a:xfrm>
            <a:off x="2715862" y="4430692"/>
            <a:ext cx="639152" cy="426103"/>
          </a:xfrm>
          <a:prstGeom prst="rect">
            <a:avLst/>
          </a:prstGeom>
        </p:spPr>
      </p:pic>
      <p:pic>
        <p:nvPicPr>
          <p:cNvPr id="49" name="Picture 48" descr="A picture containing logo&#10;&#10;Description automatically generated">
            <a:extLst>
              <a:ext uri="{FF2B5EF4-FFF2-40B4-BE49-F238E27FC236}">
                <a16:creationId xmlns:a16="http://schemas.microsoft.com/office/drawing/2014/main" id="{2D3CF1EC-1334-2C25-16E5-F5CAD73C56F1}"/>
              </a:ext>
            </a:extLst>
          </p:cNvPr>
          <p:cNvPicPr>
            <a:picLocks noChangeAspect="1"/>
          </p:cNvPicPr>
          <p:nvPr/>
        </p:nvPicPr>
        <p:blipFill>
          <a:blip r:embed="rId22"/>
          <a:stretch>
            <a:fillRect/>
          </a:stretch>
        </p:blipFill>
        <p:spPr>
          <a:xfrm>
            <a:off x="3550825" y="4418965"/>
            <a:ext cx="591844" cy="403992"/>
          </a:xfrm>
          <a:prstGeom prst="rect">
            <a:avLst/>
          </a:prstGeom>
        </p:spPr>
      </p:pic>
      <p:pic>
        <p:nvPicPr>
          <p:cNvPr id="66" name="Picture 49" descr="Logo, icon&#10;&#10;Description automatically generated">
            <a:extLst>
              <a:ext uri="{FF2B5EF4-FFF2-40B4-BE49-F238E27FC236}">
                <a16:creationId xmlns:a16="http://schemas.microsoft.com/office/drawing/2014/main" id="{D2FA33C4-C24F-5CE2-5728-ECA9D08C8ECB}"/>
              </a:ext>
            </a:extLst>
          </p:cNvPr>
          <p:cNvPicPr>
            <a:picLocks noChangeAspect="1"/>
          </p:cNvPicPr>
          <p:nvPr/>
        </p:nvPicPr>
        <p:blipFill>
          <a:blip r:embed="rId23"/>
          <a:stretch>
            <a:fillRect/>
          </a:stretch>
        </p:blipFill>
        <p:spPr>
          <a:xfrm>
            <a:off x="3564751" y="4980676"/>
            <a:ext cx="615277" cy="399930"/>
          </a:xfrm>
          <a:prstGeom prst="rect">
            <a:avLst/>
          </a:prstGeom>
        </p:spPr>
      </p:pic>
      <p:pic>
        <p:nvPicPr>
          <p:cNvPr id="71" name="Picture 51">
            <a:extLst>
              <a:ext uri="{FF2B5EF4-FFF2-40B4-BE49-F238E27FC236}">
                <a16:creationId xmlns:a16="http://schemas.microsoft.com/office/drawing/2014/main" id="{397F15B7-47EF-2606-D8F2-366F64D659AC}"/>
              </a:ext>
            </a:extLst>
          </p:cNvPr>
          <p:cNvPicPr>
            <a:picLocks noChangeAspect="1"/>
          </p:cNvPicPr>
          <p:nvPr/>
        </p:nvPicPr>
        <p:blipFill>
          <a:blip r:embed="rId24"/>
          <a:stretch>
            <a:fillRect/>
          </a:stretch>
        </p:blipFill>
        <p:spPr>
          <a:xfrm>
            <a:off x="207712" y="5525153"/>
            <a:ext cx="534853" cy="348797"/>
          </a:xfrm>
          <a:prstGeom prst="rect">
            <a:avLst/>
          </a:prstGeom>
        </p:spPr>
      </p:pic>
      <p:pic>
        <p:nvPicPr>
          <p:cNvPr id="75" name="Picture 52" descr="A picture containing text, vector graphics, businesscard&#10;&#10;Description automatically generated">
            <a:extLst>
              <a:ext uri="{FF2B5EF4-FFF2-40B4-BE49-F238E27FC236}">
                <a16:creationId xmlns:a16="http://schemas.microsoft.com/office/drawing/2014/main" id="{A0E02A46-8EED-5958-585C-1B43CC5639FD}"/>
              </a:ext>
            </a:extLst>
          </p:cNvPr>
          <p:cNvPicPr>
            <a:picLocks noChangeAspect="1"/>
          </p:cNvPicPr>
          <p:nvPr/>
        </p:nvPicPr>
        <p:blipFill>
          <a:blip r:embed="rId25"/>
          <a:stretch>
            <a:fillRect/>
          </a:stretch>
        </p:blipFill>
        <p:spPr>
          <a:xfrm>
            <a:off x="2674403" y="5496747"/>
            <a:ext cx="730563" cy="387198"/>
          </a:xfrm>
          <a:prstGeom prst="rect">
            <a:avLst/>
          </a:prstGeom>
        </p:spPr>
      </p:pic>
      <p:pic>
        <p:nvPicPr>
          <p:cNvPr id="81" name="Picture 8">
            <a:extLst>
              <a:ext uri="{FF2B5EF4-FFF2-40B4-BE49-F238E27FC236}">
                <a16:creationId xmlns:a16="http://schemas.microsoft.com/office/drawing/2014/main" id="{557D3A0E-F9A1-DBBF-9168-7E1B15316528}"/>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716" y="4427131"/>
            <a:ext cx="696562" cy="417937"/>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2">
            <a:extLst>
              <a:ext uri="{FF2B5EF4-FFF2-40B4-BE49-F238E27FC236}">
                <a16:creationId xmlns:a16="http://schemas.microsoft.com/office/drawing/2014/main" id="{C1078915-C0C1-4C35-0FD3-555F6F5B7FA4}"/>
              </a:ext>
            </a:extLst>
          </p:cNvPr>
          <p:cNvPicPr>
            <a:picLocks noChangeAspect="1"/>
          </p:cNvPicPr>
          <p:nvPr/>
        </p:nvPicPr>
        <p:blipFill>
          <a:blip r:embed="rId27"/>
          <a:stretch>
            <a:fillRect/>
          </a:stretch>
        </p:blipFill>
        <p:spPr>
          <a:xfrm>
            <a:off x="1027327" y="4980676"/>
            <a:ext cx="591845" cy="383320"/>
          </a:xfrm>
          <a:prstGeom prst="rect">
            <a:avLst/>
          </a:prstGeom>
        </p:spPr>
      </p:pic>
      <p:pic>
        <p:nvPicPr>
          <p:cNvPr id="84" name="Picture 83">
            <a:extLst>
              <a:ext uri="{FF2B5EF4-FFF2-40B4-BE49-F238E27FC236}">
                <a16:creationId xmlns:a16="http://schemas.microsoft.com/office/drawing/2014/main" id="{742E2734-5C5C-EA53-72CD-A20D13187764}"/>
              </a:ext>
            </a:extLst>
          </p:cNvPr>
          <p:cNvPicPr>
            <a:picLocks noChangeAspect="1"/>
          </p:cNvPicPr>
          <p:nvPr/>
        </p:nvPicPr>
        <p:blipFill>
          <a:blip r:embed="rId28"/>
          <a:stretch>
            <a:fillRect/>
          </a:stretch>
        </p:blipFill>
        <p:spPr>
          <a:xfrm>
            <a:off x="4368031" y="4999954"/>
            <a:ext cx="591844" cy="353517"/>
          </a:xfrm>
          <a:prstGeom prst="rect">
            <a:avLst/>
          </a:prstGeom>
        </p:spPr>
      </p:pic>
      <p:pic>
        <p:nvPicPr>
          <p:cNvPr id="85" name="Picture 84">
            <a:extLst>
              <a:ext uri="{FF2B5EF4-FFF2-40B4-BE49-F238E27FC236}">
                <a16:creationId xmlns:a16="http://schemas.microsoft.com/office/drawing/2014/main" id="{09EDB512-0943-0A89-EC6B-3350B349B371}"/>
              </a:ext>
            </a:extLst>
          </p:cNvPr>
          <p:cNvPicPr>
            <a:picLocks noChangeAspect="1"/>
          </p:cNvPicPr>
          <p:nvPr/>
        </p:nvPicPr>
        <p:blipFill>
          <a:blip r:embed="rId29"/>
          <a:stretch>
            <a:fillRect/>
          </a:stretch>
        </p:blipFill>
        <p:spPr>
          <a:xfrm>
            <a:off x="4397725" y="3844036"/>
            <a:ext cx="624147" cy="402888"/>
          </a:xfrm>
          <a:prstGeom prst="rect">
            <a:avLst/>
          </a:prstGeom>
        </p:spPr>
      </p:pic>
      <p:pic>
        <p:nvPicPr>
          <p:cNvPr id="86" name="Picture 85">
            <a:extLst>
              <a:ext uri="{FF2B5EF4-FFF2-40B4-BE49-F238E27FC236}">
                <a16:creationId xmlns:a16="http://schemas.microsoft.com/office/drawing/2014/main" id="{B2F40F5C-E9AD-4771-A3FA-ADE097706B1D}"/>
              </a:ext>
            </a:extLst>
          </p:cNvPr>
          <p:cNvPicPr>
            <a:picLocks noChangeAspect="1"/>
          </p:cNvPicPr>
          <p:nvPr/>
        </p:nvPicPr>
        <p:blipFill>
          <a:blip r:embed="rId30"/>
          <a:stretch>
            <a:fillRect/>
          </a:stretch>
        </p:blipFill>
        <p:spPr>
          <a:xfrm>
            <a:off x="3556071" y="5511876"/>
            <a:ext cx="581138" cy="382407"/>
          </a:xfrm>
          <a:prstGeom prst="rect">
            <a:avLst/>
          </a:prstGeom>
        </p:spPr>
      </p:pic>
      <p:pic>
        <p:nvPicPr>
          <p:cNvPr id="88" name="Picture 87">
            <a:extLst>
              <a:ext uri="{FF2B5EF4-FFF2-40B4-BE49-F238E27FC236}">
                <a16:creationId xmlns:a16="http://schemas.microsoft.com/office/drawing/2014/main" id="{15553AC2-232E-A8B9-E684-DF47BB283C43}"/>
              </a:ext>
            </a:extLst>
          </p:cNvPr>
          <p:cNvPicPr>
            <a:picLocks noChangeAspect="1"/>
          </p:cNvPicPr>
          <p:nvPr/>
        </p:nvPicPr>
        <p:blipFill>
          <a:blip r:embed="rId31"/>
          <a:stretch>
            <a:fillRect/>
          </a:stretch>
        </p:blipFill>
        <p:spPr>
          <a:xfrm>
            <a:off x="1904020" y="3814942"/>
            <a:ext cx="645996" cy="444821"/>
          </a:xfrm>
          <a:prstGeom prst="rect">
            <a:avLst/>
          </a:prstGeom>
        </p:spPr>
      </p:pic>
      <p:pic>
        <p:nvPicPr>
          <p:cNvPr id="90" name="Picture 89">
            <a:extLst>
              <a:ext uri="{FF2B5EF4-FFF2-40B4-BE49-F238E27FC236}">
                <a16:creationId xmlns:a16="http://schemas.microsoft.com/office/drawing/2014/main" id="{ADD50032-7FC3-F7E6-ADBF-702A25CFFF44}"/>
              </a:ext>
            </a:extLst>
          </p:cNvPr>
          <p:cNvPicPr>
            <a:picLocks noChangeAspect="1"/>
          </p:cNvPicPr>
          <p:nvPr/>
        </p:nvPicPr>
        <p:blipFill>
          <a:blip r:embed="rId32"/>
          <a:stretch>
            <a:fillRect/>
          </a:stretch>
        </p:blipFill>
        <p:spPr>
          <a:xfrm>
            <a:off x="2745128" y="3821421"/>
            <a:ext cx="624037" cy="434768"/>
          </a:xfrm>
          <a:prstGeom prst="rect">
            <a:avLst/>
          </a:prstGeom>
        </p:spPr>
      </p:pic>
      <p:pic>
        <p:nvPicPr>
          <p:cNvPr id="92" name="Picture 91">
            <a:extLst>
              <a:ext uri="{FF2B5EF4-FFF2-40B4-BE49-F238E27FC236}">
                <a16:creationId xmlns:a16="http://schemas.microsoft.com/office/drawing/2014/main" id="{48565627-193F-C0A7-82BD-EE22BCAD3DF0}"/>
              </a:ext>
            </a:extLst>
          </p:cNvPr>
          <p:cNvPicPr>
            <a:picLocks noChangeAspect="1"/>
          </p:cNvPicPr>
          <p:nvPr/>
        </p:nvPicPr>
        <p:blipFill>
          <a:blip r:embed="rId33"/>
          <a:stretch>
            <a:fillRect/>
          </a:stretch>
        </p:blipFill>
        <p:spPr>
          <a:xfrm>
            <a:off x="3564277" y="3823487"/>
            <a:ext cx="627234" cy="429771"/>
          </a:xfrm>
          <a:prstGeom prst="rect">
            <a:avLst/>
          </a:prstGeom>
        </p:spPr>
      </p:pic>
      <p:pic>
        <p:nvPicPr>
          <p:cNvPr id="94" name="Picture 93">
            <a:extLst>
              <a:ext uri="{FF2B5EF4-FFF2-40B4-BE49-F238E27FC236}">
                <a16:creationId xmlns:a16="http://schemas.microsoft.com/office/drawing/2014/main" id="{3B3759D7-BBC4-CB8B-F804-DB929169E18F}"/>
              </a:ext>
            </a:extLst>
          </p:cNvPr>
          <p:cNvPicPr>
            <a:picLocks noChangeAspect="1"/>
          </p:cNvPicPr>
          <p:nvPr/>
        </p:nvPicPr>
        <p:blipFill>
          <a:blip r:embed="rId34"/>
          <a:stretch>
            <a:fillRect/>
          </a:stretch>
        </p:blipFill>
        <p:spPr>
          <a:xfrm>
            <a:off x="1883698" y="4374691"/>
            <a:ext cx="639407" cy="474612"/>
          </a:xfrm>
          <a:prstGeom prst="rect">
            <a:avLst/>
          </a:prstGeom>
        </p:spPr>
      </p:pic>
      <p:pic>
        <p:nvPicPr>
          <p:cNvPr id="96" name="Picture 95">
            <a:extLst>
              <a:ext uri="{FF2B5EF4-FFF2-40B4-BE49-F238E27FC236}">
                <a16:creationId xmlns:a16="http://schemas.microsoft.com/office/drawing/2014/main" id="{7FDA3076-C8AF-8899-8D06-9EE6151A70BF}"/>
              </a:ext>
            </a:extLst>
          </p:cNvPr>
          <p:cNvPicPr>
            <a:picLocks noChangeAspect="1"/>
          </p:cNvPicPr>
          <p:nvPr/>
        </p:nvPicPr>
        <p:blipFill>
          <a:blip r:embed="rId35"/>
          <a:stretch>
            <a:fillRect/>
          </a:stretch>
        </p:blipFill>
        <p:spPr>
          <a:xfrm>
            <a:off x="4403207" y="4434252"/>
            <a:ext cx="593558" cy="418982"/>
          </a:xfrm>
          <a:prstGeom prst="rect">
            <a:avLst/>
          </a:prstGeom>
        </p:spPr>
      </p:pic>
      <p:pic>
        <p:nvPicPr>
          <p:cNvPr id="98" name="Picture 97">
            <a:extLst>
              <a:ext uri="{FF2B5EF4-FFF2-40B4-BE49-F238E27FC236}">
                <a16:creationId xmlns:a16="http://schemas.microsoft.com/office/drawing/2014/main" id="{B9C61F25-2EEC-B0A7-B448-8DE270728242}"/>
              </a:ext>
            </a:extLst>
          </p:cNvPr>
          <p:cNvPicPr>
            <a:picLocks noChangeAspect="1"/>
          </p:cNvPicPr>
          <p:nvPr/>
        </p:nvPicPr>
        <p:blipFill>
          <a:blip r:embed="rId36"/>
          <a:stretch>
            <a:fillRect/>
          </a:stretch>
        </p:blipFill>
        <p:spPr>
          <a:xfrm>
            <a:off x="207712" y="4972889"/>
            <a:ext cx="534853" cy="392225"/>
          </a:xfrm>
          <a:prstGeom prst="rect">
            <a:avLst/>
          </a:prstGeom>
        </p:spPr>
      </p:pic>
      <p:pic>
        <p:nvPicPr>
          <p:cNvPr id="104" name="Picture 103">
            <a:extLst>
              <a:ext uri="{FF2B5EF4-FFF2-40B4-BE49-F238E27FC236}">
                <a16:creationId xmlns:a16="http://schemas.microsoft.com/office/drawing/2014/main" id="{40C39DA8-2525-B8B3-2FFA-FD27FB7EFC5F}"/>
              </a:ext>
            </a:extLst>
          </p:cNvPr>
          <p:cNvPicPr>
            <a:picLocks noChangeAspect="1"/>
          </p:cNvPicPr>
          <p:nvPr/>
        </p:nvPicPr>
        <p:blipFill>
          <a:blip r:embed="rId37"/>
          <a:stretch>
            <a:fillRect/>
          </a:stretch>
        </p:blipFill>
        <p:spPr>
          <a:xfrm>
            <a:off x="2665702" y="4860773"/>
            <a:ext cx="737997" cy="545476"/>
          </a:xfrm>
          <a:prstGeom prst="rect">
            <a:avLst/>
          </a:prstGeom>
        </p:spPr>
      </p:pic>
      <p:pic>
        <p:nvPicPr>
          <p:cNvPr id="111" name="Picture 110">
            <a:extLst>
              <a:ext uri="{FF2B5EF4-FFF2-40B4-BE49-F238E27FC236}">
                <a16:creationId xmlns:a16="http://schemas.microsoft.com/office/drawing/2014/main" id="{24C1B4C5-880C-628B-AD2E-9AC51051670F}"/>
              </a:ext>
            </a:extLst>
          </p:cNvPr>
          <p:cNvPicPr>
            <a:picLocks noChangeAspect="1"/>
          </p:cNvPicPr>
          <p:nvPr/>
        </p:nvPicPr>
        <p:blipFill>
          <a:blip r:embed="rId38"/>
          <a:stretch>
            <a:fillRect/>
          </a:stretch>
        </p:blipFill>
        <p:spPr>
          <a:xfrm>
            <a:off x="1060471" y="5506157"/>
            <a:ext cx="526664" cy="366375"/>
          </a:xfrm>
          <a:prstGeom prst="rect">
            <a:avLst/>
          </a:prstGeom>
        </p:spPr>
      </p:pic>
      <p:pic>
        <p:nvPicPr>
          <p:cNvPr id="113" name="Picture 112">
            <a:extLst>
              <a:ext uri="{FF2B5EF4-FFF2-40B4-BE49-F238E27FC236}">
                <a16:creationId xmlns:a16="http://schemas.microsoft.com/office/drawing/2014/main" id="{097ACFBF-AF56-0160-B269-1D7CB42D311B}"/>
              </a:ext>
            </a:extLst>
          </p:cNvPr>
          <p:cNvPicPr>
            <a:picLocks noChangeAspect="1"/>
          </p:cNvPicPr>
          <p:nvPr/>
        </p:nvPicPr>
        <p:blipFill>
          <a:blip r:embed="rId39"/>
          <a:stretch>
            <a:fillRect/>
          </a:stretch>
        </p:blipFill>
        <p:spPr>
          <a:xfrm>
            <a:off x="1901329" y="5508523"/>
            <a:ext cx="526663" cy="371762"/>
          </a:xfrm>
          <a:prstGeom prst="rect">
            <a:avLst/>
          </a:prstGeom>
        </p:spPr>
      </p:pic>
      <p:pic>
        <p:nvPicPr>
          <p:cNvPr id="115" name="Picture 114">
            <a:extLst>
              <a:ext uri="{FF2B5EF4-FFF2-40B4-BE49-F238E27FC236}">
                <a16:creationId xmlns:a16="http://schemas.microsoft.com/office/drawing/2014/main" id="{C9066AB8-5CC9-D2B1-BC2E-FD25988BC861}"/>
              </a:ext>
            </a:extLst>
          </p:cNvPr>
          <p:cNvPicPr>
            <a:picLocks noChangeAspect="1"/>
          </p:cNvPicPr>
          <p:nvPr/>
        </p:nvPicPr>
        <p:blipFill>
          <a:blip r:embed="rId40"/>
          <a:stretch>
            <a:fillRect/>
          </a:stretch>
        </p:blipFill>
        <p:spPr>
          <a:xfrm>
            <a:off x="1380329" y="6019968"/>
            <a:ext cx="656021" cy="396496"/>
          </a:xfrm>
          <a:prstGeom prst="rect">
            <a:avLst/>
          </a:prstGeom>
        </p:spPr>
      </p:pic>
      <p:pic>
        <p:nvPicPr>
          <p:cNvPr id="119" name="Picture 118">
            <a:extLst>
              <a:ext uri="{FF2B5EF4-FFF2-40B4-BE49-F238E27FC236}">
                <a16:creationId xmlns:a16="http://schemas.microsoft.com/office/drawing/2014/main" id="{1337EF33-72AB-32E7-8C18-5454E1B0D501}"/>
              </a:ext>
            </a:extLst>
          </p:cNvPr>
          <p:cNvPicPr>
            <a:picLocks noChangeAspect="1"/>
          </p:cNvPicPr>
          <p:nvPr/>
        </p:nvPicPr>
        <p:blipFill>
          <a:blip r:embed="rId41"/>
          <a:stretch>
            <a:fillRect/>
          </a:stretch>
        </p:blipFill>
        <p:spPr>
          <a:xfrm>
            <a:off x="2257100" y="6036996"/>
            <a:ext cx="773978" cy="396494"/>
          </a:xfrm>
          <a:prstGeom prst="rect">
            <a:avLst/>
          </a:prstGeom>
        </p:spPr>
      </p:pic>
      <p:pic>
        <p:nvPicPr>
          <p:cNvPr id="3" name="Picture 2">
            <a:extLst>
              <a:ext uri="{FF2B5EF4-FFF2-40B4-BE49-F238E27FC236}">
                <a16:creationId xmlns:a16="http://schemas.microsoft.com/office/drawing/2014/main" id="{4221D526-B559-1255-7684-5A89C4EA77A8}"/>
              </a:ext>
            </a:extLst>
          </p:cNvPr>
          <p:cNvPicPr>
            <a:picLocks noChangeAspect="1"/>
          </p:cNvPicPr>
          <p:nvPr/>
        </p:nvPicPr>
        <p:blipFill>
          <a:blip r:embed="rId42"/>
          <a:stretch>
            <a:fillRect/>
          </a:stretch>
        </p:blipFill>
        <p:spPr>
          <a:xfrm>
            <a:off x="10048292" y="5837354"/>
            <a:ext cx="1776741" cy="530890"/>
          </a:xfrm>
          <a:prstGeom prst="rect">
            <a:avLst/>
          </a:prstGeom>
        </p:spPr>
      </p:pic>
      <p:pic>
        <p:nvPicPr>
          <p:cNvPr id="5" name="Picture 4">
            <a:extLst>
              <a:ext uri="{FF2B5EF4-FFF2-40B4-BE49-F238E27FC236}">
                <a16:creationId xmlns:a16="http://schemas.microsoft.com/office/drawing/2014/main" id="{B7542D7E-8EB8-031E-2366-2DA9BCD48C01}"/>
              </a:ext>
            </a:extLst>
          </p:cNvPr>
          <p:cNvPicPr>
            <a:picLocks noChangeAspect="1"/>
          </p:cNvPicPr>
          <p:nvPr/>
        </p:nvPicPr>
        <p:blipFill>
          <a:blip r:embed="rId43"/>
          <a:stretch>
            <a:fillRect/>
          </a:stretch>
        </p:blipFill>
        <p:spPr>
          <a:xfrm>
            <a:off x="9019023" y="5947287"/>
            <a:ext cx="921833" cy="454332"/>
          </a:xfrm>
          <a:prstGeom prst="rect">
            <a:avLst/>
          </a:prstGeom>
        </p:spPr>
      </p:pic>
      <p:pic>
        <p:nvPicPr>
          <p:cNvPr id="9" name="Picture 8">
            <a:extLst>
              <a:ext uri="{FF2B5EF4-FFF2-40B4-BE49-F238E27FC236}">
                <a16:creationId xmlns:a16="http://schemas.microsoft.com/office/drawing/2014/main" id="{E57FACBF-5DE1-B6FF-4CFE-24AD414BD3E4}"/>
              </a:ext>
            </a:extLst>
          </p:cNvPr>
          <p:cNvPicPr/>
          <p:nvPr/>
        </p:nvPicPr>
        <p:blipFill>
          <a:blip r:embed="rId44">
            <a:extLst>
              <a:ext uri="{28A0092B-C50C-407E-A947-70E740481C1C}">
                <a14:useLocalDpi xmlns:a14="http://schemas.microsoft.com/office/drawing/2010/main" val="0"/>
              </a:ext>
            </a:extLst>
          </a:blip>
          <a:stretch>
            <a:fillRect/>
          </a:stretch>
        </p:blipFill>
        <p:spPr bwMode="auto">
          <a:xfrm>
            <a:off x="7161888" y="15429"/>
            <a:ext cx="2433637" cy="855442"/>
          </a:xfrm>
          <a:prstGeom prst="rect">
            <a:avLst/>
          </a:prstGeom>
          <a:noFill/>
        </p:spPr>
      </p:pic>
      <p:pic>
        <p:nvPicPr>
          <p:cNvPr id="4" name="Picture 3">
            <a:extLst>
              <a:ext uri="{FF2B5EF4-FFF2-40B4-BE49-F238E27FC236}">
                <a16:creationId xmlns:a16="http://schemas.microsoft.com/office/drawing/2014/main" id="{F0267551-B40A-8D82-E9CB-70C459EA68F4}"/>
              </a:ext>
            </a:extLst>
          </p:cNvPr>
          <p:cNvPicPr>
            <a:picLocks noChangeAspect="1"/>
          </p:cNvPicPr>
          <p:nvPr/>
        </p:nvPicPr>
        <p:blipFill>
          <a:blip r:embed="rId45"/>
          <a:stretch>
            <a:fillRect/>
          </a:stretch>
        </p:blipFill>
        <p:spPr>
          <a:xfrm>
            <a:off x="3369552" y="6034235"/>
            <a:ext cx="767657" cy="406115"/>
          </a:xfrm>
          <a:prstGeom prst="rect">
            <a:avLst/>
          </a:prstGeom>
        </p:spPr>
      </p:pic>
      <p:pic>
        <p:nvPicPr>
          <p:cNvPr id="2" name="Picture 1" descr="A green logo with a black background&#10;&#10;Description automatically generated">
            <a:extLst>
              <a:ext uri="{FF2B5EF4-FFF2-40B4-BE49-F238E27FC236}">
                <a16:creationId xmlns:a16="http://schemas.microsoft.com/office/drawing/2014/main" id="{7E103C8F-CA67-4162-A417-F36C6A2225F5}"/>
              </a:ext>
            </a:extLst>
          </p:cNvPr>
          <p:cNvPicPr>
            <a:picLocks noChangeAspect="1"/>
          </p:cNvPicPr>
          <p:nvPr/>
        </p:nvPicPr>
        <p:blipFill rotWithShape="1">
          <a:blip r:embed="rId46">
            <a:extLst>
              <a:ext uri="{28A0092B-C50C-407E-A947-70E740481C1C}">
                <a14:useLocalDpi xmlns:a14="http://schemas.microsoft.com/office/drawing/2010/main" val="0"/>
              </a:ext>
            </a:extLst>
          </a:blip>
          <a:srcRect t="16361" b="10622"/>
          <a:stretch/>
        </p:blipFill>
        <p:spPr>
          <a:xfrm>
            <a:off x="7793968" y="5843971"/>
            <a:ext cx="1430482" cy="554618"/>
          </a:xfrm>
          <a:prstGeom prst="rect">
            <a:avLst/>
          </a:prstGeom>
        </p:spPr>
      </p:pic>
      <p:pic>
        <p:nvPicPr>
          <p:cNvPr id="1026" name="Picture 2" descr="Flag of Egypt - Wikipedia">
            <a:extLst>
              <a:ext uri="{FF2B5EF4-FFF2-40B4-BE49-F238E27FC236}">
                <a16:creationId xmlns:a16="http://schemas.microsoft.com/office/drawing/2014/main" id="{735A65AF-7B9E-33C0-C55B-9851AC5ECBE4}"/>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4357959" y="6035076"/>
            <a:ext cx="607911" cy="405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73352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598AB4-97E5-D40A-A5CD-D86AFF3DB607}"/>
              </a:ext>
            </a:extLst>
          </p:cNvPr>
          <p:cNvSpPr>
            <a:spLocks noGrp="1"/>
          </p:cNvSpPr>
          <p:nvPr>
            <p:ph idx="1"/>
          </p:nvPr>
        </p:nvSpPr>
        <p:spPr>
          <a:xfrm>
            <a:off x="6066517" y="959769"/>
            <a:ext cx="5698113" cy="409537"/>
          </a:xfrm>
        </p:spPr>
        <p:txBody>
          <a:bodyPr>
            <a:normAutofit fontScale="92500" lnSpcReduction="20000"/>
          </a:bodyPr>
          <a:lstStyle/>
          <a:p>
            <a:pPr marL="0" indent="0">
              <a:buNone/>
            </a:pPr>
            <a:r>
              <a:rPr lang="en-US">
                <a:latin typeface="Calibri" panose="020F0502020204030204" pitchFamily="34" charset="0"/>
                <a:ea typeface="Calibri" panose="020F0502020204030204" pitchFamily="34" charset="0"/>
                <a:cs typeface="Calibri" panose="020F0502020204030204" pitchFamily="34" charset="0"/>
              </a:rPr>
              <a:t>Practices and experiences collected</a:t>
            </a:r>
          </a:p>
        </p:txBody>
      </p:sp>
      <p:pic>
        <p:nvPicPr>
          <p:cNvPr id="7" name="Picture 4">
            <a:extLst>
              <a:ext uri="{FF2B5EF4-FFF2-40B4-BE49-F238E27FC236}">
                <a16:creationId xmlns:a16="http://schemas.microsoft.com/office/drawing/2014/main" id="{BB9761BE-B582-20D7-5C47-312E08707F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6241" y="1470700"/>
            <a:ext cx="1758228" cy="2485496"/>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2">
            <a:extLst>
              <a:ext uri="{FF2B5EF4-FFF2-40B4-BE49-F238E27FC236}">
                <a16:creationId xmlns:a16="http://schemas.microsoft.com/office/drawing/2014/main" id="{2FEBBF0E-B739-91F5-7787-F6E2EA896F1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12075" y="1470629"/>
            <a:ext cx="1758228" cy="2477503"/>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9" name="Picture 6">
            <a:extLst>
              <a:ext uri="{FF2B5EF4-FFF2-40B4-BE49-F238E27FC236}">
                <a16:creationId xmlns:a16="http://schemas.microsoft.com/office/drawing/2014/main" id="{DF4D6DC7-6468-7E95-59B6-11CCAA0CE45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0763" y="4158983"/>
            <a:ext cx="1753706" cy="247910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0" name="Picture 2">
            <a:extLst>
              <a:ext uri="{FF2B5EF4-FFF2-40B4-BE49-F238E27FC236}">
                <a16:creationId xmlns:a16="http://schemas.microsoft.com/office/drawing/2014/main" id="{5924AD0F-86A5-84DB-78EE-3F7F4E6459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4868" y="1470700"/>
            <a:ext cx="1752554" cy="247743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1D696EF7-4B9A-BEE0-B1CC-45F9606586FD}"/>
              </a:ext>
            </a:extLst>
          </p:cNvPr>
          <p:cNvPicPr>
            <a:picLocks noChangeAspect="1"/>
          </p:cNvPicPr>
          <p:nvPr/>
        </p:nvPicPr>
        <p:blipFill>
          <a:blip r:embed="rId6"/>
          <a:stretch>
            <a:fillRect/>
          </a:stretch>
        </p:blipFill>
        <p:spPr>
          <a:xfrm>
            <a:off x="8001787" y="4159521"/>
            <a:ext cx="1799235" cy="2478024"/>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433A6E24-C3DC-70D1-D916-3D0D745AC2EF}"/>
              </a:ext>
            </a:extLst>
          </p:cNvPr>
          <p:cNvPicPr>
            <a:picLocks noChangeAspect="1"/>
          </p:cNvPicPr>
          <p:nvPr/>
        </p:nvPicPr>
        <p:blipFill>
          <a:blip r:embed="rId7"/>
          <a:stretch>
            <a:fillRect/>
          </a:stretch>
        </p:blipFill>
        <p:spPr>
          <a:xfrm>
            <a:off x="10186219" y="4159521"/>
            <a:ext cx="1727982" cy="2478024"/>
          </a:xfrm>
          <a:prstGeom prst="rect">
            <a:avLst/>
          </a:prstGeom>
          <a:ln>
            <a:noFill/>
          </a:ln>
          <a:effectLst>
            <a:outerShdw blurRad="292100" dist="139700" dir="2700000" algn="tl" rotWithShape="0">
              <a:srgbClr val="333333">
                <a:alpha val="65000"/>
              </a:srgbClr>
            </a:outerShdw>
          </a:effectLst>
        </p:spPr>
      </p:pic>
      <p:sp>
        <p:nvSpPr>
          <p:cNvPr id="15" name="Content Placeholder 2">
            <a:extLst>
              <a:ext uri="{FF2B5EF4-FFF2-40B4-BE49-F238E27FC236}">
                <a16:creationId xmlns:a16="http://schemas.microsoft.com/office/drawing/2014/main" id="{2C3A6E75-A8F8-845E-F278-500A8061073E}"/>
              </a:ext>
            </a:extLst>
          </p:cNvPr>
          <p:cNvSpPr txBox="1">
            <a:spLocks/>
          </p:cNvSpPr>
          <p:nvPr/>
        </p:nvSpPr>
        <p:spPr>
          <a:xfrm>
            <a:off x="502920" y="959769"/>
            <a:ext cx="2020842" cy="40953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a:latin typeface="Calibri" panose="020F0502020204030204" pitchFamily="34" charset="0"/>
                <a:ea typeface="Calibri" panose="020F0502020204030204" pitchFamily="34" charset="0"/>
                <a:cs typeface="Calibri" panose="020F0502020204030204" pitchFamily="34" charset="0"/>
              </a:rPr>
              <a:t>Focus</a:t>
            </a:r>
          </a:p>
        </p:txBody>
      </p:sp>
      <p:sp>
        <p:nvSpPr>
          <p:cNvPr id="16" name="Rectangle 15">
            <a:extLst>
              <a:ext uri="{FF2B5EF4-FFF2-40B4-BE49-F238E27FC236}">
                <a16:creationId xmlns:a16="http://schemas.microsoft.com/office/drawing/2014/main" id="{44C232FC-ED90-4796-0E56-A26C934FD967}"/>
              </a:ext>
            </a:extLst>
          </p:cNvPr>
          <p:cNvSpPr/>
          <p:nvPr/>
        </p:nvSpPr>
        <p:spPr>
          <a:xfrm>
            <a:off x="7888756" y="4047836"/>
            <a:ext cx="2088001" cy="2693332"/>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000" b="0" i="0" u="none" strike="noStrike" kern="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sym typeface="Arial"/>
            </a:endParaRPr>
          </a:p>
        </p:txBody>
      </p:sp>
      <p:sp>
        <p:nvSpPr>
          <p:cNvPr id="2" name="Title 1">
            <a:extLst>
              <a:ext uri="{FF2B5EF4-FFF2-40B4-BE49-F238E27FC236}">
                <a16:creationId xmlns:a16="http://schemas.microsoft.com/office/drawing/2014/main" id="{B5BD5CF0-6984-C94A-6EDB-009913D63313}"/>
              </a:ext>
            </a:extLst>
          </p:cNvPr>
          <p:cNvSpPr txBox="1">
            <a:spLocks/>
          </p:cNvSpPr>
          <p:nvPr/>
        </p:nvSpPr>
        <p:spPr>
          <a:xfrm>
            <a:off x="155233" y="250239"/>
            <a:ext cx="9646695" cy="48418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rgbClr val="1371A1"/>
                </a:solidFill>
                <a:latin typeface="+mn-lt"/>
                <a:ea typeface="+mj-ea"/>
                <a:cs typeface="+mj-cs"/>
              </a:defRPr>
            </a:lvl1pPr>
          </a:lstStyle>
          <a:p>
            <a:r>
              <a:rPr lang="en-US" altLang="en-US" sz="2550" b="1">
                <a:solidFill>
                  <a:srgbClr val="0872A6"/>
                </a:solidFill>
                <a:latin typeface="Calibri" panose="020F0502020204030204" pitchFamily="34" charset="0"/>
                <a:ea typeface="Calibri" panose="020F0502020204030204" pitchFamily="34" charset="0"/>
                <a:cs typeface="Calibri" panose="020F0502020204030204" pitchFamily="34" charset="0"/>
              </a:rPr>
              <a:t>Long-Term Energy Scenario (LTES) Network</a:t>
            </a:r>
          </a:p>
        </p:txBody>
      </p:sp>
      <p:pic>
        <p:nvPicPr>
          <p:cNvPr id="13" name="Picture 12">
            <a:extLst>
              <a:ext uri="{FF2B5EF4-FFF2-40B4-BE49-F238E27FC236}">
                <a16:creationId xmlns:a16="http://schemas.microsoft.com/office/drawing/2014/main" id="{77C3E07E-4CA2-058D-C0E9-43983D9E036C}"/>
              </a:ext>
            </a:extLst>
          </p:cNvPr>
          <p:cNvPicPr>
            <a:picLocks noChangeAspect="1"/>
          </p:cNvPicPr>
          <p:nvPr/>
        </p:nvPicPr>
        <p:blipFill>
          <a:blip r:embed="rId8"/>
          <a:stretch>
            <a:fillRect/>
          </a:stretch>
        </p:blipFill>
        <p:spPr>
          <a:xfrm>
            <a:off x="277799" y="1574889"/>
            <a:ext cx="5229849" cy="4323342"/>
          </a:xfrm>
          <a:prstGeom prst="rect">
            <a:avLst/>
          </a:prstGeom>
        </p:spPr>
      </p:pic>
      <p:pic>
        <p:nvPicPr>
          <p:cNvPr id="4" name="Picture 3">
            <a:extLst>
              <a:ext uri="{FF2B5EF4-FFF2-40B4-BE49-F238E27FC236}">
                <a16:creationId xmlns:a16="http://schemas.microsoft.com/office/drawing/2014/main" id="{D4B345BE-048E-17E9-F762-7016F20CC08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463705" y="-98159"/>
            <a:ext cx="2640228" cy="98802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27245072-9E1F-4270-9A3E-9EDF24E72249}"/>
              </a:ext>
            </a:extLst>
          </p:cNvPr>
          <p:cNvPicPr/>
          <p:nvPr/>
        </p:nvPicPr>
        <p:blipFill>
          <a:blip r:embed="rId10">
            <a:extLst>
              <a:ext uri="{28A0092B-C50C-407E-A947-70E740481C1C}">
                <a14:useLocalDpi xmlns:a14="http://schemas.microsoft.com/office/drawing/2010/main" val="0"/>
              </a:ext>
            </a:extLst>
          </a:blip>
          <a:stretch>
            <a:fillRect/>
          </a:stretch>
        </p:blipFill>
        <p:spPr bwMode="auto">
          <a:xfrm>
            <a:off x="7262037" y="36358"/>
            <a:ext cx="2094255" cy="718991"/>
          </a:xfrm>
          <a:prstGeom prst="rect">
            <a:avLst/>
          </a:prstGeom>
          <a:noFill/>
        </p:spPr>
      </p:pic>
    </p:spTree>
    <p:extLst>
      <p:ext uri="{BB962C8B-B14F-4D97-AF65-F5344CB8AC3E}">
        <p14:creationId xmlns:p14="http://schemas.microsoft.com/office/powerpoint/2010/main" val="41341083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pW5ZaFSpaIoiBng_.Ai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708519F7531EA4AAA46666CF297C792" ma:contentTypeVersion="15" ma:contentTypeDescription="Create a new document." ma:contentTypeScope="" ma:versionID="cbca21ddc3690ccf5d52a66efd369419">
  <xsd:schema xmlns:xsd="http://www.w3.org/2001/XMLSchema" xmlns:xs="http://www.w3.org/2001/XMLSchema" xmlns:p="http://schemas.microsoft.com/office/2006/metadata/properties" xmlns:ns2="48cbea7f-1e6f-4a35-b2dd-bfba39e351f8" xmlns:ns3="e60c6458-b656-4940-80dc-9d11abcd190a" targetNamespace="http://schemas.microsoft.com/office/2006/metadata/properties" ma:root="true" ma:fieldsID="1407dea91c5e7559158a3666fb6a044c" ns2:_="" ns3:_="">
    <xsd:import namespace="48cbea7f-1e6f-4a35-b2dd-bfba39e351f8"/>
    <xsd:import namespace="e60c6458-b656-4940-80dc-9d11abcd190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cbea7f-1e6f-4a35-b2dd-bfba39e351f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5a77ea5-3d14-4585-9531-26d6f492a402"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0c6458-b656-4940-80dc-9d11abcd190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249a2f0-9a51-4b20-a4ae-1d18b80c622b}" ma:internalName="TaxCatchAll" ma:showField="CatchAllData" ma:web="e60c6458-b656-4940-80dc-9d11abcd19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8cbea7f-1e6f-4a35-b2dd-bfba39e351f8">
      <Terms xmlns="http://schemas.microsoft.com/office/infopath/2007/PartnerControls"/>
    </lcf76f155ced4ddcb4097134ff3c332f>
    <TaxCatchAll xmlns="e60c6458-b656-4940-80dc-9d11abcd190a" xsi:nil="true"/>
    <SharedWithUsers xmlns="e60c6458-b656-4940-80dc-9d11abcd190a">
      <UserInfo>
        <DisplayName>Juan Jose Garcia Mendez</DisplayName>
        <AccountId>32</AccountId>
        <AccountType/>
      </UserInfo>
      <UserInfo>
        <DisplayName>Angela Khanali Mutsotso</DisplayName>
        <AccountId>194</AccountId>
        <AccountType/>
      </UserInfo>
      <UserInfo>
        <DisplayName>Long-term Energy Scenarios for the Clean Energy Transition</DisplayName>
        <AccountId>568</AccountId>
        <AccountType/>
      </UserInfo>
      <UserInfo>
        <DisplayName>Asami Miketa</DisplayName>
        <AccountId>18</AccountId>
        <AccountType/>
      </UserInfo>
      <UserInfo>
        <DisplayName>Nolwazi Khumalo</DisplayName>
        <AccountId>1426</AccountId>
        <AccountType/>
      </UserInfo>
      <UserInfo>
        <DisplayName>Daniel Russo</DisplayName>
        <AccountId>19</AccountId>
        <AccountType/>
      </UserInfo>
    </SharedWithUsers>
  </documentManagement>
</p:properties>
</file>

<file path=customXml/itemProps1.xml><?xml version="1.0" encoding="utf-8"?>
<ds:datastoreItem xmlns:ds="http://schemas.openxmlformats.org/officeDocument/2006/customXml" ds:itemID="{B41FD6C0-7049-4C73-8A19-1CE4CBEDC255}">
  <ds:schemaRefs>
    <ds:schemaRef ds:uri="48cbea7f-1e6f-4a35-b2dd-bfba39e351f8"/>
    <ds:schemaRef ds:uri="e60c6458-b656-4940-80dc-9d11abcd19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671F779-B351-4F58-91C2-08BCB8E9B444}">
  <ds:schemaRefs>
    <ds:schemaRef ds:uri="http://schemas.microsoft.com/sharepoint/v3/contenttype/forms"/>
  </ds:schemaRefs>
</ds:datastoreItem>
</file>

<file path=customXml/itemProps3.xml><?xml version="1.0" encoding="utf-8"?>
<ds:datastoreItem xmlns:ds="http://schemas.openxmlformats.org/officeDocument/2006/customXml" ds:itemID="{D7DDA407-F6D7-4A0D-B5DC-52BDAA06558D}">
  <ds:schemaRefs>
    <ds:schemaRef ds:uri="48cbea7f-1e6f-4a35-b2dd-bfba39e351f8"/>
    <ds:schemaRef ds:uri="e60c6458-b656-4940-80dc-9d11abcd190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8</TotalTime>
  <Words>2176</Words>
  <Application>Microsoft Office PowerPoint</Application>
  <PresentationFormat>Widescreen</PresentationFormat>
  <Paragraphs>247</Paragraphs>
  <Slides>23</Slides>
  <Notes>18</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5" baseType="lpstr">
      <vt:lpstr>MS PGothic</vt:lpstr>
      <vt:lpstr>Arial</vt:lpstr>
      <vt:lpstr>Calibri</vt:lpstr>
      <vt:lpstr>Calibri Light</vt:lpstr>
      <vt:lpstr>Garamond</vt:lpstr>
      <vt:lpstr>Segoe UI</vt:lpstr>
      <vt:lpstr>Wingdings</vt:lpstr>
      <vt:lpstr>Office Theme</vt:lpstr>
      <vt:lpstr>1_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gela Khanali Mutsotso</dc:creator>
  <cp:lastModifiedBy>Karan Kochhar</cp:lastModifiedBy>
  <cp:revision>5</cp:revision>
  <dcterms:created xsi:type="dcterms:W3CDTF">2024-02-13T13:53:59Z</dcterms:created>
  <dcterms:modified xsi:type="dcterms:W3CDTF">2024-03-18T13: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08519F7531EA4AAA46666CF297C792</vt:lpwstr>
  </property>
  <property fmtid="{D5CDD505-2E9C-101B-9397-08002B2CF9AE}" pid="3" name="MediaServiceImageTags">
    <vt:lpwstr/>
  </property>
</Properties>
</file>